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</p:sldMasterIdLst>
  <p:notesMasterIdLst>
    <p:notesMasterId r:id="rId3"/>
  </p:notesMasterIdLst>
  <p:handoutMasterIdLst>
    <p:handoutMasterId r:id="rId4"/>
  </p:handoutMasterIdLst>
  <p:sldIdLst>
    <p:sldId id="532" r:id="rId2"/>
  </p:sldIdLst>
  <p:sldSz cx="10171113" cy="5721350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rim Belaid" initials="KB" lastIdx="1" clrIdx="0">
    <p:extLst>
      <p:ext uri="{19B8F6BF-5375-455C-9EA6-DF929625EA0E}">
        <p15:presenceInfo xmlns:p15="http://schemas.microsoft.com/office/powerpoint/2012/main" userId="S::Karim.Belaid@idiada.com::30cebcba-f0ff-415b-8a1d-56e133dc31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8946"/>
    <a:srgbClr val="CA6920"/>
    <a:srgbClr val="F5E977"/>
    <a:srgbClr val="F5F5F5"/>
    <a:srgbClr val="C2C2C2"/>
    <a:srgbClr val="FCF8D2"/>
    <a:srgbClr val="DBE9E3"/>
    <a:srgbClr val="FFD9D9"/>
    <a:srgbClr val="CCD6F4"/>
    <a:srgbClr val="94BC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45" autoAdjust="0"/>
    <p:restoredTop sz="92965" autoAdjust="0"/>
  </p:normalViewPr>
  <p:slideViewPr>
    <p:cSldViewPr snapToGrid="0">
      <p:cViewPr varScale="1">
        <p:scale>
          <a:sx n="95" d="100"/>
          <a:sy n="95" d="100"/>
        </p:scale>
        <p:origin x="744" y="67"/>
      </p:cViewPr>
      <p:guideLst/>
    </p:cSldViewPr>
  </p:slideViewPr>
  <p:outlineViewPr>
    <p:cViewPr>
      <p:scale>
        <a:sx n="33" d="100"/>
        <a:sy n="33" d="100"/>
      </p:scale>
      <p:origin x="0" y="-500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>
        <p:scale>
          <a:sx n="150" d="100"/>
          <a:sy n="150" d="100"/>
        </p:scale>
        <p:origin x="2388" y="-376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3762E-A522-41F7-B71E-E8E9707C82DC}" type="datetimeFigureOut">
              <a:rPr lang="de-DE" smtClean="0"/>
              <a:t>28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82000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C91EF-3961-43DA-97D1-C6C9DED43CE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784510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4A0280-7445-4B27-8488-589517C4B039}" type="datetimeFigureOut">
              <a:rPr lang="de-DE" smtClean="0"/>
              <a:t>28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2238" y="447675"/>
            <a:ext cx="6613525" cy="37211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9925" y="4286992"/>
            <a:ext cx="5518150" cy="442949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820000"/>
            <a:ext cx="2971800" cy="324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43D2D7-4F35-42F2-BD56-11CB094AF2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318316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8890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780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1950" indent="-9525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45085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5085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45085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450850" indent="-88900" algn="l" defTabSz="914400" rtl="0" eaLnBrk="1" latinLnBrk="0" hangingPunct="1">
      <a:lnSpc>
        <a:spcPts val="1530"/>
      </a:lnSpc>
      <a:buClr>
        <a:schemeClr val="tx1"/>
      </a:buClr>
      <a:buSzPct val="90000"/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326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absch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>
            <a:extLst>
              <a:ext uri="{FF2B5EF4-FFF2-40B4-BE49-F238E27FC236}">
                <a16:creationId xmlns:a16="http://schemas.microsoft.com/office/drawing/2014/main" id="{8583D35B-AE2F-4BB5-9B4C-650A03BB37B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645557" y="2121381"/>
            <a:ext cx="2879999" cy="1478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58037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C2ED5B2-8DFC-4864-8442-56CA06BC5DA0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326516A-14A4-46D3-A41A-CBB211073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6BE146A5-BAF4-4054-A6FC-9A94B206CF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45288" y="1124607"/>
            <a:ext cx="8848725" cy="346890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0021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1pPr>
            <a:lvl2pPr marL="600642" indent="-200214">
              <a:spcBef>
                <a:spcPts val="667"/>
              </a:spcBef>
              <a:defRPr sz="1200">
                <a:solidFill>
                  <a:schemeClr val="tx1"/>
                </a:solidFill>
              </a:defRPr>
            </a:lvl2pPr>
            <a:lvl3pPr marL="120128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3pPr>
            <a:lvl4pPr>
              <a:spcBef>
                <a:spcPts val="667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67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19127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3-spaltig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684515A0-3ACC-4DA7-A19D-253E613CEB33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81C53425-D1A6-CE46-8218-C0A917931F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45289" y="1127840"/>
            <a:ext cx="2759949" cy="347114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0021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1pPr>
            <a:lvl2pPr marL="600642" indent="-200214">
              <a:spcBef>
                <a:spcPts val="667"/>
              </a:spcBef>
              <a:defRPr sz="1200">
                <a:solidFill>
                  <a:schemeClr val="tx1"/>
                </a:solidFill>
              </a:defRPr>
            </a:lvl2pPr>
            <a:lvl3pPr marL="120128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3pPr>
            <a:lvl4pPr>
              <a:defRPr sz="1557">
                <a:solidFill>
                  <a:schemeClr val="tx1"/>
                </a:solidFill>
              </a:defRPr>
            </a:lvl4pPr>
            <a:lvl5pPr>
              <a:defRPr sz="155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26477505-A953-B844-8FB2-CC7BD3DF14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95114" y="1127840"/>
            <a:ext cx="2754673" cy="347114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0021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1pPr>
            <a:lvl2pPr marL="600642" indent="-200214">
              <a:spcBef>
                <a:spcPts val="667"/>
              </a:spcBef>
              <a:defRPr sz="1200">
                <a:solidFill>
                  <a:schemeClr val="tx1"/>
                </a:solidFill>
              </a:defRPr>
            </a:lvl2pPr>
            <a:lvl3pPr marL="120128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3pPr>
            <a:lvl4pPr>
              <a:defRPr sz="1557">
                <a:solidFill>
                  <a:schemeClr val="tx1"/>
                </a:solidFill>
              </a:defRPr>
            </a:lvl4pPr>
            <a:lvl5pPr>
              <a:defRPr sz="155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7ECD1E9-E7D9-9C40-AEAB-DADAC219A3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39464" y="1127840"/>
            <a:ext cx="2754673" cy="347114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0021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1pPr>
            <a:lvl2pPr marL="600642" indent="-200214">
              <a:spcBef>
                <a:spcPts val="667"/>
              </a:spcBef>
              <a:defRPr sz="1200">
                <a:solidFill>
                  <a:schemeClr val="tx1"/>
                </a:solidFill>
              </a:defRPr>
            </a:lvl2pPr>
            <a:lvl3pPr marL="120128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3pPr>
            <a:lvl4pPr>
              <a:defRPr sz="1557">
                <a:solidFill>
                  <a:schemeClr val="tx1"/>
                </a:solidFill>
              </a:defRPr>
            </a:lvl4pPr>
            <a:lvl5pPr>
              <a:defRPr sz="155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1E601254-2DA0-43E9-8C80-21125334B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9676943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2/3) &amp; Bild (1/3)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3244A2E-D85A-40DD-98A7-1B8A6E09FC3C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B5A2B65-74F1-44AE-8E33-6265B32D3E0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34510" y="845489"/>
            <a:ext cx="3036603" cy="40335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189A53-14DB-9241-B9EB-420EEED582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45289" y="1127838"/>
            <a:ext cx="5804774" cy="347114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0021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1pPr>
            <a:lvl2pPr marL="600642" indent="-200214">
              <a:spcBef>
                <a:spcPts val="667"/>
              </a:spcBef>
              <a:defRPr sz="1200">
                <a:solidFill>
                  <a:schemeClr val="tx1"/>
                </a:solidFill>
              </a:defRPr>
            </a:lvl2pPr>
            <a:lvl3pPr marL="120128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3pPr>
            <a:lvl4pPr>
              <a:defRPr sz="1557">
                <a:solidFill>
                  <a:schemeClr val="tx1"/>
                </a:solidFill>
              </a:defRPr>
            </a:lvl4pPr>
            <a:lvl5pPr>
              <a:defRPr sz="155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55FCE44-58E2-4CDF-AACD-0DA32797D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6516769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9642DB76-9735-470F-ADCC-DDF4E2D6A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35861" y="847607"/>
            <a:ext cx="5637642" cy="2496244"/>
          </a:xfrm>
          <a:custGeom>
            <a:avLst/>
            <a:gdLst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0 w 5063169"/>
              <a:gd name="connsiteY3" fmla="*/ 2241550 h 2241550"/>
              <a:gd name="connsiteX4" fmla="*/ 0 w 5063169"/>
              <a:gd name="connsiteY4" fmla="*/ 0 h 2241550"/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1069298 w 5063169"/>
              <a:gd name="connsiteY3" fmla="*/ 2241550 h 2241550"/>
              <a:gd name="connsiteX4" fmla="*/ 0 w 5063169"/>
              <a:gd name="connsiteY4" fmla="*/ 0 h 2241550"/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1071679 w 5063169"/>
              <a:gd name="connsiteY3" fmla="*/ 2241550 h 2241550"/>
              <a:gd name="connsiteX4" fmla="*/ 0 w 5063169"/>
              <a:gd name="connsiteY4" fmla="*/ 0 h 2241550"/>
              <a:gd name="connsiteX0" fmla="*/ 0 w 5072694"/>
              <a:gd name="connsiteY0" fmla="*/ 0 h 2241550"/>
              <a:gd name="connsiteX1" fmla="*/ 5063169 w 5072694"/>
              <a:gd name="connsiteY1" fmla="*/ 0 h 2241550"/>
              <a:gd name="connsiteX2" fmla="*/ 5072694 w 5072694"/>
              <a:gd name="connsiteY2" fmla="*/ 2241550 h 2241550"/>
              <a:gd name="connsiteX3" fmla="*/ 1071679 w 5072694"/>
              <a:gd name="connsiteY3" fmla="*/ 2241550 h 2241550"/>
              <a:gd name="connsiteX4" fmla="*/ 0 w 5072694"/>
              <a:gd name="connsiteY4" fmla="*/ 0 h 2241550"/>
              <a:gd name="connsiteX0" fmla="*/ 0 w 5072694"/>
              <a:gd name="connsiteY0" fmla="*/ 0 h 2241550"/>
              <a:gd name="connsiteX1" fmla="*/ 5070313 w 5072694"/>
              <a:gd name="connsiteY1" fmla="*/ 0 h 2241550"/>
              <a:gd name="connsiteX2" fmla="*/ 5072694 w 5072694"/>
              <a:gd name="connsiteY2" fmla="*/ 2241550 h 2241550"/>
              <a:gd name="connsiteX3" fmla="*/ 1071679 w 5072694"/>
              <a:gd name="connsiteY3" fmla="*/ 2241550 h 2241550"/>
              <a:gd name="connsiteX4" fmla="*/ 0 w 5072694"/>
              <a:gd name="connsiteY4" fmla="*/ 0 h 2241550"/>
              <a:gd name="connsiteX0" fmla="*/ 0 w 5073097"/>
              <a:gd name="connsiteY0" fmla="*/ 0 h 2241550"/>
              <a:gd name="connsiteX1" fmla="*/ 5072889 w 5073097"/>
              <a:gd name="connsiteY1" fmla="*/ 0 h 2241550"/>
              <a:gd name="connsiteX2" fmla="*/ 5072694 w 5073097"/>
              <a:gd name="connsiteY2" fmla="*/ 2241550 h 2241550"/>
              <a:gd name="connsiteX3" fmla="*/ 1071679 w 5073097"/>
              <a:gd name="connsiteY3" fmla="*/ 2241550 h 2241550"/>
              <a:gd name="connsiteX4" fmla="*/ 0 w 5073097"/>
              <a:gd name="connsiteY4" fmla="*/ 0 h 2241550"/>
              <a:gd name="connsiteX0" fmla="*/ 0 w 5073097"/>
              <a:gd name="connsiteY0" fmla="*/ 0 h 2241550"/>
              <a:gd name="connsiteX1" fmla="*/ 5072889 w 5073097"/>
              <a:gd name="connsiteY1" fmla="*/ 0 h 2241550"/>
              <a:gd name="connsiteX2" fmla="*/ 5072694 w 5073097"/>
              <a:gd name="connsiteY2" fmla="*/ 2241550 h 2241550"/>
              <a:gd name="connsiteX3" fmla="*/ 1074255 w 5073097"/>
              <a:gd name="connsiteY3" fmla="*/ 2241550 h 2241550"/>
              <a:gd name="connsiteX4" fmla="*/ 0 w 5073097"/>
              <a:gd name="connsiteY4" fmla="*/ 0 h 2241550"/>
              <a:gd name="connsiteX0" fmla="*/ 0 w 5073097"/>
              <a:gd name="connsiteY0" fmla="*/ 0 h 2244126"/>
              <a:gd name="connsiteX1" fmla="*/ 5072889 w 5073097"/>
              <a:gd name="connsiteY1" fmla="*/ 0 h 2244126"/>
              <a:gd name="connsiteX2" fmla="*/ 5072694 w 5073097"/>
              <a:gd name="connsiteY2" fmla="*/ 2241550 h 2244126"/>
              <a:gd name="connsiteX3" fmla="*/ 1079406 w 5073097"/>
              <a:gd name="connsiteY3" fmla="*/ 2244126 h 2244126"/>
              <a:gd name="connsiteX4" fmla="*/ 0 w 5073097"/>
              <a:gd name="connsiteY4" fmla="*/ 0 h 2244126"/>
              <a:gd name="connsiteX0" fmla="*/ 0 w 5073097"/>
              <a:gd name="connsiteY0" fmla="*/ 0 h 2244126"/>
              <a:gd name="connsiteX1" fmla="*/ 5072889 w 5073097"/>
              <a:gd name="connsiteY1" fmla="*/ 0 h 2244126"/>
              <a:gd name="connsiteX2" fmla="*/ 5072694 w 5073097"/>
              <a:gd name="connsiteY2" fmla="*/ 2241550 h 2244126"/>
              <a:gd name="connsiteX3" fmla="*/ 1076831 w 5073097"/>
              <a:gd name="connsiteY3" fmla="*/ 2244126 h 2244126"/>
              <a:gd name="connsiteX4" fmla="*/ 0 w 5073097"/>
              <a:gd name="connsiteY4" fmla="*/ 0 h 2244126"/>
              <a:gd name="connsiteX0" fmla="*/ 0 w 5068334"/>
              <a:gd name="connsiteY0" fmla="*/ 0 h 2244126"/>
              <a:gd name="connsiteX1" fmla="*/ 5068126 w 5068334"/>
              <a:gd name="connsiteY1" fmla="*/ 0 h 2244126"/>
              <a:gd name="connsiteX2" fmla="*/ 5067931 w 5068334"/>
              <a:gd name="connsiteY2" fmla="*/ 2241550 h 2244126"/>
              <a:gd name="connsiteX3" fmla="*/ 1072068 w 5068334"/>
              <a:gd name="connsiteY3" fmla="*/ 2244126 h 2244126"/>
              <a:gd name="connsiteX4" fmla="*/ 0 w 5068334"/>
              <a:gd name="connsiteY4" fmla="*/ 0 h 2244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8334" h="2244126">
                <a:moveTo>
                  <a:pt x="0" y="0"/>
                </a:moveTo>
                <a:lnTo>
                  <a:pt x="5068126" y="0"/>
                </a:lnTo>
                <a:cubicBezTo>
                  <a:pt x="5068920" y="747183"/>
                  <a:pt x="5067137" y="1494367"/>
                  <a:pt x="5067931" y="2241550"/>
                </a:cubicBezTo>
                <a:lnTo>
                  <a:pt x="1072068" y="224412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Parallelogramm 20">
            <a:extLst>
              <a:ext uri="{FF2B5EF4-FFF2-40B4-BE49-F238E27FC236}">
                <a16:creationId xmlns:a16="http://schemas.microsoft.com/office/drawing/2014/main" id="{D83CB403-1553-478D-B0B0-B83B50C255D1}"/>
              </a:ext>
            </a:extLst>
          </p:cNvPr>
          <p:cNvSpPr/>
          <p:nvPr userDrawn="1"/>
        </p:nvSpPr>
        <p:spPr>
          <a:xfrm flipH="1">
            <a:off x="5725650" y="3338030"/>
            <a:ext cx="4447087" cy="1541006"/>
          </a:xfrm>
          <a:custGeom>
            <a:avLst/>
            <a:gdLst>
              <a:gd name="connsiteX0" fmla="*/ 0 w 3996545"/>
              <a:gd name="connsiteY0" fmla="*/ 1382714 h 1382714"/>
              <a:gd name="connsiteX1" fmla="*/ 660605 w 3996545"/>
              <a:gd name="connsiteY1" fmla="*/ 0 h 1382714"/>
              <a:gd name="connsiteX2" fmla="*/ 3996545 w 3996545"/>
              <a:gd name="connsiteY2" fmla="*/ 0 h 1382714"/>
              <a:gd name="connsiteX3" fmla="*/ 3335940 w 3996545"/>
              <a:gd name="connsiteY3" fmla="*/ 1382714 h 1382714"/>
              <a:gd name="connsiteX4" fmla="*/ 0 w 3996545"/>
              <a:gd name="connsiteY4" fmla="*/ 1382714 h 1382714"/>
              <a:gd name="connsiteX0" fmla="*/ 1460 w 3998005"/>
              <a:gd name="connsiteY0" fmla="*/ 1382714 h 1382714"/>
              <a:gd name="connsiteX1" fmla="*/ 0 w 3998005"/>
              <a:gd name="connsiteY1" fmla="*/ 2499 h 1382714"/>
              <a:gd name="connsiteX2" fmla="*/ 3998005 w 3998005"/>
              <a:gd name="connsiteY2" fmla="*/ 0 h 1382714"/>
              <a:gd name="connsiteX3" fmla="*/ 3337400 w 3998005"/>
              <a:gd name="connsiteY3" fmla="*/ 1382714 h 1382714"/>
              <a:gd name="connsiteX4" fmla="*/ 1460 w 3998005"/>
              <a:gd name="connsiteY4" fmla="*/ 1382714 h 1382714"/>
              <a:gd name="connsiteX0" fmla="*/ 1460 w 3998005"/>
              <a:gd name="connsiteY0" fmla="*/ 1382714 h 1382714"/>
              <a:gd name="connsiteX1" fmla="*/ 0 w 3998005"/>
              <a:gd name="connsiteY1" fmla="*/ 2499 h 1382714"/>
              <a:gd name="connsiteX2" fmla="*/ 3998005 w 3998005"/>
              <a:gd name="connsiteY2" fmla="*/ 0 h 1382714"/>
              <a:gd name="connsiteX3" fmla="*/ 3337400 w 3998005"/>
              <a:gd name="connsiteY3" fmla="*/ 1382714 h 1382714"/>
              <a:gd name="connsiteX4" fmla="*/ 1460 w 3998005"/>
              <a:gd name="connsiteY4" fmla="*/ 1382714 h 1382714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5367 h 1385367"/>
              <a:gd name="connsiteX1" fmla="*/ 0 w 3998005"/>
              <a:gd name="connsiteY1" fmla="*/ 0 h 1385367"/>
              <a:gd name="connsiteX2" fmla="*/ 3998005 w 3998005"/>
              <a:gd name="connsiteY2" fmla="*/ 2653 h 1385367"/>
              <a:gd name="connsiteX3" fmla="*/ 3337400 w 3998005"/>
              <a:gd name="connsiteY3" fmla="*/ 1385367 h 1385367"/>
              <a:gd name="connsiteX4" fmla="*/ 1460 w 3998005"/>
              <a:gd name="connsiteY4" fmla="*/ 1385367 h 1385367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5366 h 1385366"/>
              <a:gd name="connsiteX1" fmla="*/ 0 w 3998005"/>
              <a:gd name="connsiteY1" fmla="*/ 0 h 1385366"/>
              <a:gd name="connsiteX2" fmla="*/ 3998005 w 3998005"/>
              <a:gd name="connsiteY2" fmla="*/ 2652 h 1385366"/>
              <a:gd name="connsiteX3" fmla="*/ 3337400 w 3998005"/>
              <a:gd name="connsiteY3" fmla="*/ 1385366 h 1385366"/>
              <a:gd name="connsiteX4" fmla="*/ 1460 w 3998005"/>
              <a:gd name="connsiteY4" fmla="*/ 1385366 h 1385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98005" h="1385366">
                <a:moveTo>
                  <a:pt x="1460" y="1385366"/>
                </a:moveTo>
                <a:cubicBezTo>
                  <a:pt x="973" y="925294"/>
                  <a:pt x="487" y="460072"/>
                  <a:pt x="0" y="0"/>
                </a:cubicBezTo>
                <a:lnTo>
                  <a:pt x="3998005" y="2652"/>
                </a:lnTo>
                <a:lnTo>
                  <a:pt x="3337400" y="1385366"/>
                </a:lnTo>
                <a:lnTo>
                  <a:pt x="1460" y="138536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E2B3A810-C844-4418-AF20-CD01E7DF013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8302" y="847608"/>
            <a:ext cx="4895494" cy="2493378"/>
          </a:xfrm>
          <a:custGeom>
            <a:avLst/>
            <a:gdLst>
              <a:gd name="connsiteX0" fmla="*/ 0 w 4401131"/>
              <a:gd name="connsiteY0" fmla="*/ 0 h 2241550"/>
              <a:gd name="connsiteX1" fmla="*/ 4401131 w 4401131"/>
              <a:gd name="connsiteY1" fmla="*/ 0 h 2241550"/>
              <a:gd name="connsiteX2" fmla="*/ 4401131 w 4401131"/>
              <a:gd name="connsiteY2" fmla="*/ 2241550 h 2241550"/>
              <a:gd name="connsiteX3" fmla="*/ 0 w 4401131"/>
              <a:gd name="connsiteY3" fmla="*/ 2241550 h 2241550"/>
              <a:gd name="connsiteX4" fmla="*/ 0 w 4401131"/>
              <a:gd name="connsiteY4" fmla="*/ 0 h 2241550"/>
              <a:gd name="connsiteX0" fmla="*/ 0 w 4401131"/>
              <a:gd name="connsiteY0" fmla="*/ 0 h 2241550"/>
              <a:gd name="connsiteX1" fmla="*/ 3334775 w 4401131"/>
              <a:gd name="connsiteY1" fmla="*/ 0 h 2241550"/>
              <a:gd name="connsiteX2" fmla="*/ 4401131 w 4401131"/>
              <a:gd name="connsiteY2" fmla="*/ 2241550 h 2241550"/>
              <a:gd name="connsiteX3" fmla="*/ 0 w 4401131"/>
              <a:gd name="connsiteY3" fmla="*/ 2241550 h 2241550"/>
              <a:gd name="connsiteX4" fmla="*/ 0 w 4401131"/>
              <a:gd name="connsiteY4" fmla="*/ 0 h 2241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1131" h="2241550">
                <a:moveTo>
                  <a:pt x="0" y="0"/>
                </a:moveTo>
                <a:lnTo>
                  <a:pt x="3334775" y="0"/>
                </a:lnTo>
                <a:lnTo>
                  <a:pt x="4401131" y="2241550"/>
                </a:lnTo>
                <a:lnTo>
                  <a:pt x="0" y="224155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Parallelogramm 19">
            <a:extLst>
              <a:ext uri="{FF2B5EF4-FFF2-40B4-BE49-F238E27FC236}">
                <a16:creationId xmlns:a16="http://schemas.microsoft.com/office/drawing/2014/main" id="{05F37096-C0B7-49A6-9DDE-C38BDC558E57}"/>
              </a:ext>
            </a:extLst>
          </p:cNvPr>
          <p:cNvSpPr/>
          <p:nvPr userDrawn="1"/>
        </p:nvSpPr>
        <p:spPr>
          <a:xfrm flipH="1">
            <a:off x="766365" y="3340985"/>
            <a:ext cx="5633833" cy="1538055"/>
          </a:xfrm>
          <a:custGeom>
            <a:avLst/>
            <a:gdLst>
              <a:gd name="connsiteX0" fmla="*/ 0 w 5069672"/>
              <a:gd name="connsiteY0" fmla="*/ 1382713 h 1382713"/>
              <a:gd name="connsiteX1" fmla="*/ 660605 w 5069672"/>
              <a:gd name="connsiteY1" fmla="*/ 0 h 1382713"/>
              <a:gd name="connsiteX2" fmla="*/ 5069672 w 5069672"/>
              <a:gd name="connsiteY2" fmla="*/ 0 h 1382713"/>
              <a:gd name="connsiteX3" fmla="*/ 4409067 w 5069672"/>
              <a:gd name="connsiteY3" fmla="*/ 1382713 h 1382713"/>
              <a:gd name="connsiteX4" fmla="*/ 0 w 5069672"/>
              <a:gd name="connsiteY4" fmla="*/ 1382713 h 1382713"/>
              <a:gd name="connsiteX0" fmla="*/ 0 w 5069672"/>
              <a:gd name="connsiteY0" fmla="*/ 1382713 h 1382713"/>
              <a:gd name="connsiteX1" fmla="*/ 660605 w 5069672"/>
              <a:gd name="connsiteY1" fmla="*/ 0 h 1382713"/>
              <a:gd name="connsiteX2" fmla="*/ 5069672 w 5069672"/>
              <a:gd name="connsiteY2" fmla="*/ 0 h 1382713"/>
              <a:gd name="connsiteX3" fmla="*/ 5063911 w 5069672"/>
              <a:gd name="connsiteY3" fmla="*/ 1380332 h 1382713"/>
              <a:gd name="connsiteX4" fmla="*/ 0 w 5069672"/>
              <a:gd name="connsiteY4" fmla="*/ 1382713 h 1382713"/>
              <a:gd name="connsiteX0" fmla="*/ 0 w 5064910"/>
              <a:gd name="connsiteY0" fmla="*/ 1382713 h 1382713"/>
              <a:gd name="connsiteX1" fmla="*/ 660605 w 5064910"/>
              <a:gd name="connsiteY1" fmla="*/ 0 h 1382713"/>
              <a:gd name="connsiteX2" fmla="*/ 5064910 w 5064910"/>
              <a:gd name="connsiteY2" fmla="*/ 0 h 1382713"/>
              <a:gd name="connsiteX3" fmla="*/ 5063911 w 5064910"/>
              <a:gd name="connsiteY3" fmla="*/ 1380332 h 1382713"/>
              <a:gd name="connsiteX4" fmla="*/ 0 w 5064910"/>
              <a:gd name="connsiteY4" fmla="*/ 1382713 h 138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4910" h="1382713">
                <a:moveTo>
                  <a:pt x="0" y="1382713"/>
                </a:moveTo>
                <a:lnTo>
                  <a:pt x="660605" y="0"/>
                </a:lnTo>
                <a:lnTo>
                  <a:pt x="5064910" y="0"/>
                </a:lnTo>
                <a:cubicBezTo>
                  <a:pt x="5062990" y="460111"/>
                  <a:pt x="5065831" y="920221"/>
                  <a:pt x="5063911" y="1380332"/>
                </a:cubicBezTo>
                <a:lnTo>
                  <a:pt x="0" y="138271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FBCD15C0-0903-4F0D-B02A-624F6D64B5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4519" y="3646311"/>
            <a:ext cx="45672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31" name="Textplatzhalter 26">
            <a:extLst>
              <a:ext uri="{FF2B5EF4-FFF2-40B4-BE49-F238E27FC236}">
                <a16:creationId xmlns:a16="http://schemas.microsoft.com/office/drawing/2014/main" id="{EBB16E9B-0BFA-4147-BF9B-1621103B63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26560" y="3646311"/>
            <a:ext cx="355629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CF1CE939-EDBF-4C40-819A-43D37F2B5C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4520" y="3905462"/>
            <a:ext cx="4567293" cy="693525"/>
          </a:xfrm>
          <a:prstGeom prst="rect">
            <a:avLst/>
          </a:prstGeom>
        </p:spPr>
        <p:txBody>
          <a:bodyPr lIns="0" tIns="0" rIns="0" bIns="0"/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0" name="Textplatzhalter 35">
            <a:extLst>
              <a:ext uri="{FF2B5EF4-FFF2-40B4-BE49-F238E27FC236}">
                <a16:creationId xmlns:a16="http://schemas.microsoft.com/office/drawing/2014/main" id="{CEBC62FB-9854-48A6-A95F-B64B2E209F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53415" y="3905463"/>
            <a:ext cx="34363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35">
            <a:extLst>
              <a:ext uri="{FF2B5EF4-FFF2-40B4-BE49-F238E27FC236}">
                <a16:creationId xmlns:a16="http://schemas.microsoft.com/office/drawing/2014/main" id="{7F10253B-7E90-4D23-B119-099955D9B9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59990" y="4167465"/>
            <a:ext cx="33285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35">
            <a:extLst>
              <a:ext uri="{FF2B5EF4-FFF2-40B4-BE49-F238E27FC236}">
                <a16:creationId xmlns:a16="http://schemas.microsoft.com/office/drawing/2014/main" id="{94C82AD6-A493-4748-9178-9562D5DD6F1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99745" y="4421023"/>
            <a:ext cx="31872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9A72B995-0D23-455A-8266-D696BCC16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946308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4">
          <p15:clr>
            <a:srgbClr val="FBAE40"/>
          </p15:clr>
        </p15:guide>
        <p15:guide id="2" orient="horz" pos="229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858280BA-5DAF-4239-8C96-0E00F2969D39}"/>
              </a:ext>
            </a:extLst>
          </p:cNvPr>
          <p:cNvSpPr/>
          <p:nvPr userDrawn="1"/>
        </p:nvSpPr>
        <p:spPr>
          <a:xfrm>
            <a:off x="2281438" y="842309"/>
            <a:ext cx="3128762" cy="19588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1069" y="842308"/>
            <a:ext cx="1520369" cy="1958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7" name="Textplatzhalter 26">
            <a:extLst>
              <a:ext uri="{FF2B5EF4-FFF2-40B4-BE49-F238E27FC236}">
                <a16:creationId xmlns:a16="http://schemas.microsoft.com/office/drawing/2014/main" id="{5320B77E-2B58-4BE6-82A4-68EE846607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69845" y="1439654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CE06CBF7-8546-4EEE-A38E-7DF26CFD9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69844" y="1750179"/>
            <a:ext cx="2526888" cy="542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C9D460D-EDA8-483E-B4D3-69922B442037}"/>
              </a:ext>
            </a:extLst>
          </p:cNvPr>
          <p:cNvSpPr/>
          <p:nvPr userDrawn="1"/>
        </p:nvSpPr>
        <p:spPr>
          <a:xfrm>
            <a:off x="2281438" y="2920201"/>
            <a:ext cx="3128762" cy="19588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5E8E2BFE-2BB0-4499-BEEE-6270E3B5F24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1069" y="2920201"/>
            <a:ext cx="1520369" cy="1958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Textplatzhalter 26">
            <a:extLst>
              <a:ext uri="{FF2B5EF4-FFF2-40B4-BE49-F238E27FC236}">
                <a16:creationId xmlns:a16="http://schemas.microsoft.com/office/drawing/2014/main" id="{0B884043-C75F-4A8E-831F-57A0E1E33C9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69845" y="3517547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11F960EE-CCBB-4852-9A1B-24F0556CA4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69844" y="3828072"/>
            <a:ext cx="2526888" cy="542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924E695-160F-425A-9C69-6AFF9551679F}"/>
              </a:ext>
            </a:extLst>
          </p:cNvPr>
          <p:cNvSpPr/>
          <p:nvPr userDrawn="1"/>
        </p:nvSpPr>
        <p:spPr>
          <a:xfrm>
            <a:off x="7045615" y="842309"/>
            <a:ext cx="3125498" cy="19588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525246" y="842308"/>
            <a:ext cx="1520369" cy="1958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9" name="Textplatzhalter 26">
            <a:extLst>
              <a:ext uri="{FF2B5EF4-FFF2-40B4-BE49-F238E27FC236}">
                <a16:creationId xmlns:a16="http://schemas.microsoft.com/office/drawing/2014/main" id="{D2F29D40-13C9-41FB-AFFA-85491C009E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40507" y="1439654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60" name="Textplatzhalter 35">
            <a:extLst>
              <a:ext uri="{FF2B5EF4-FFF2-40B4-BE49-F238E27FC236}">
                <a16:creationId xmlns:a16="http://schemas.microsoft.com/office/drawing/2014/main" id="{E677340F-EF6D-40A1-B272-E825C63153B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340507" y="1750179"/>
            <a:ext cx="2526888" cy="542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31316428-BBAD-4650-8430-0B440D1391C9}"/>
              </a:ext>
            </a:extLst>
          </p:cNvPr>
          <p:cNvSpPr/>
          <p:nvPr userDrawn="1"/>
        </p:nvSpPr>
        <p:spPr>
          <a:xfrm>
            <a:off x="7045615" y="2920201"/>
            <a:ext cx="3125498" cy="19588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457BB239-3FDE-4AA9-8F78-3A25A953B73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525246" y="2920201"/>
            <a:ext cx="1520369" cy="1958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3" name="Textplatzhalter 26">
            <a:extLst>
              <a:ext uri="{FF2B5EF4-FFF2-40B4-BE49-F238E27FC236}">
                <a16:creationId xmlns:a16="http://schemas.microsoft.com/office/drawing/2014/main" id="{088108A6-84F7-4B20-914D-18C953F46B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40507" y="3517547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64" name="Textplatzhalter 35">
            <a:extLst>
              <a:ext uri="{FF2B5EF4-FFF2-40B4-BE49-F238E27FC236}">
                <a16:creationId xmlns:a16="http://schemas.microsoft.com/office/drawing/2014/main" id="{C9B1DB20-4664-456E-8599-00A1A0D8E3A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340507" y="3828072"/>
            <a:ext cx="2526888" cy="542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745670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F4AA879E-CD1B-4468-A60F-22BD5B2EE865}"/>
              </a:ext>
            </a:extLst>
          </p:cNvPr>
          <p:cNvSpPr/>
          <p:nvPr userDrawn="1"/>
        </p:nvSpPr>
        <p:spPr>
          <a:xfrm>
            <a:off x="2281437" y="842310"/>
            <a:ext cx="3133525" cy="12654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5265D3A-CBD7-405C-A37D-5E66050AB1EF}"/>
              </a:ext>
            </a:extLst>
          </p:cNvPr>
          <p:cNvSpPr/>
          <p:nvPr userDrawn="1"/>
        </p:nvSpPr>
        <p:spPr>
          <a:xfrm>
            <a:off x="2281437" y="2226992"/>
            <a:ext cx="3133525" cy="12654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E9C4F868-3250-4423-8B9E-5F8B50631071}"/>
              </a:ext>
            </a:extLst>
          </p:cNvPr>
          <p:cNvSpPr/>
          <p:nvPr userDrawn="1"/>
        </p:nvSpPr>
        <p:spPr>
          <a:xfrm>
            <a:off x="2281437" y="3611023"/>
            <a:ext cx="3133525" cy="12654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8CB0365-18B1-40F2-A76D-29F0015D251A}"/>
              </a:ext>
            </a:extLst>
          </p:cNvPr>
          <p:cNvSpPr/>
          <p:nvPr userDrawn="1"/>
        </p:nvSpPr>
        <p:spPr>
          <a:xfrm>
            <a:off x="7037588" y="842310"/>
            <a:ext cx="3133525" cy="12654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AE5BEFE-9AF2-450E-8E6E-510CB2A6EE65}"/>
              </a:ext>
            </a:extLst>
          </p:cNvPr>
          <p:cNvSpPr/>
          <p:nvPr userDrawn="1"/>
        </p:nvSpPr>
        <p:spPr>
          <a:xfrm>
            <a:off x="7037588" y="2226992"/>
            <a:ext cx="3133525" cy="12654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532714C-D0F4-4841-AA96-082F4443C357}"/>
              </a:ext>
            </a:extLst>
          </p:cNvPr>
          <p:cNvSpPr/>
          <p:nvPr userDrawn="1"/>
        </p:nvSpPr>
        <p:spPr>
          <a:xfrm>
            <a:off x="7037588" y="3611023"/>
            <a:ext cx="3133525" cy="12654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1069" y="842309"/>
            <a:ext cx="1520369" cy="126540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525246" y="842309"/>
            <a:ext cx="1520369" cy="126540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07436F7D-C42A-4B42-889D-8F3CFB68223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61069" y="2226992"/>
            <a:ext cx="1520369" cy="126540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8" name="Bildplatzhalter 4">
            <a:extLst>
              <a:ext uri="{FF2B5EF4-FFF2-40B4-BE49-F238E27FC236}">
                <a16:creationId xmlns:a16="http://schemas.microsoft.com/office/drawing/2014/main" id="{28446AB4-B53E-430D-9190-48E2FB34F01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61069" y="3611023"/>
            <a:ext cx="1520369" cy="126540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3B14132C-77AE-4C9D-BAAD-5BB7940DBE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5525246" y="2226340"/>
            <a:ext cx="1520369" cy="126540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Bildplatzhalter 4">
            <a:extLst>
              <a:ext uri="{FF2B5EF4-FFF2-40B4-BE49-F238E27FC236}">
                <a16:creationId xmlns:a16="http://schemas.microsoft.com/office/drawing/2014/main" id="{34B39398-958C-4AF2-A083-99F4F4C208C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25246" y="3611023"/>
            <a:ext cx="1520369" cy="126540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3" name="Textplatzhalter 26">
            <a:extLst>
              <a:ext uri="{FF2B5EF4-FFF2-40B4-BE49-F238E27FC236}">
                <a16:creationId xmlns:a16="http://schemas.microsoft.com/office/drawing/2014/main" id="{94AB9309-EAA5-49B4-B82F-1BD77C727A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69845" y="1138753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DA8DC389-8A12-4DA3-8CAB-A4D198C79B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69844" y="1449278"/>
            <a:ext cx="2526888" cy="542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7" name="Textplatzhalter 26">
            <a:extLst>
              <a:ext uri="{FF2B5EF4-FFF2-40B4-BE49-F238E27FC236}">
                <a16:creationId xmlns:a16="http://schemas.microsoft.com/office/drawing/2014/main" id="{816796D7-B715-4770-975E-8A696C5B7B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69845" y="2523435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58" name="Textplatzhalter 35">
            <a:extLst>
              <a:ext uri="{FF2B5EF4-FFF2-40B4-BE49-F238E27FC236}">
                <a16:creationId xmlns:a16="http://schemas.microsoft.com/office/drawing/2014/main" id="{B7979116-26BA-485F-84A0-65C2388FA62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569844" y="2833960"/>
            <a:ext cx="2526888" cy="542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7" name="Textplatzhalter 26">
            <a:extLst>
              <a:ext uri="{FF2B5EF4-FFF2-40B4-BE49-F238E27FC236}">
                <a16:creationId xmlns:a16="http://schemas.microsoft.com/office/drawing/2014/main" id="{C21D983A-0D4C-4D00-B111-735954A2961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569845" y="3907466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68" name="Textplatzhalter 35">
            <a:extLst>
              <a:ext uri="{FF2B5EF4-FFF2-40B4-BE49-F238E27FC236}">
                <a16:creationId xmlns:a16="http://schemas.microsoft.com/office/drawing/2014/main" id="{02B9B515-5674-4464-BA68-1229D9DDF19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569844" y="4217991"/>
            <a:ext cx="2526888" cy="542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5" name="Textplatzhalter 26">
            <a:extLst>
              <a:ext uri="{FF2B5EF4-FFF2-40B4-BE49-F238E27FC236}">
                <a16:creationId xmlns:a16="http://schemas.microsoft.com/office/drawing/2014/main" id="{5830621B-BA92-4785-A83E-285D5C38D1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22050" y="1138753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76" name="Textplatzhalter 35">
            <a:extLst>
              <a:ext uri="{FF2B5EF4-FFF2-40B4-BE49-F238E27FC236}">
                <a16:creationId xmlns:a16="http://schemas.microsoft.com/office/drawing/2014/main" id="{598166D4-495B-4114-91E9-3343EF5B392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22049" y="1449278"/>
            <a:ext cx="2526888" cy="542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7" name="Textplatzhalter 26">
            <a:extLst>
              <a:ext uri="{FF2B5EF4-FFF2-40B4-BE49-F238E27FC236}">
                <a16:creationId xmlns:a16="http://schemas.microsoft.com/office/drawing/2014/main" id="{F428F419-263B-4872-892E-D6ECAF867C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322050" y="2523435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78" name="Textplatzhalter 35">
            <a:extLst>
              <a:ext uri="{FF2B5EF4-FFF2-40B4-BE49-F238E27FC236}">
                <a16:creationId xmlns:a16="http://schemas.microsoft.com/office/drawing/2014/main" id="{C081683D-5F61-4838-9654-F36D733085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322049" y="2833960"/>
            <a:ext cx="2526888" cy="542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9" name="Textplatzhalter 26">
            <a:extLst>
              <a:ext uri="{FF2B5EF4-FFF2-40B4-BE49-F238E27FC236}">
                <a16:creationId xmlns:a16="http://schemas.microsoft.com/office/drawing/2014/main" id="{C83575E6-3737-4178-8E0F-8084568DA77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22050" y="3907466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80" name="Textplatzhalter 35">
            <a:extLst>
              <a:ext uri="{FF2B5EF4-FFF2-40B4-BE49-F238E27FC236}">
                <a16:creationId xmlns:a16="http://schemas.microsoft.com/office/drawing/2014/main" id="{0AC2C41F-DE75-49A7-8D8E-14310ECE758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322049" y="4217991"/>
            <a:ext cx="2526888" cy="542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70826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26E64995-10B5-442B-80F9-C43858D8CBD7}"/>
              </a:ext>
            </a:extLst>
          </p:cNvPr>
          <p:cNvSpPr/>
          <p:nvPr userDrawn="1"/>
        </p:nvSpPr>
        <p:spPr>
          <a:xfrm>
            <a:off x="2281438" y="842311"/>
            <a:ext cx="3128762" cy="9210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BAA7624-496F-4F89-817D-8AF0714308FC}"/>
              </a:ext>
            </a:extLst>
          </p:cNvPr>
          <p:cNvSpPr/>
          <p:nvPr userDrawn="1"/>
        </p:nvSpPr>
        <p:spPr>
          <a:xfrm>
            <a:off x="2281438" y="1880127"/>
            <a:ext cx="3128762" cy="9210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58E32BA-BE0C-4488-B8EB-732F6128967B}"/>
              </a:ext>
            </a:extLst>
          </p:cNvPr>
          <p:cNvSpPr/>
          <p:nvPr userDrawn="1"/>
        </p:nvSpPr>
        <p:spPr>
          <a:xfrm>
            <a:off x="2281438" y="2915595"/>
            <a:ext cx="3128762" cy="9210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ED833DA5-F35F-4F65-BED5-F05C52F2BC6F}"/>
              </a:ext>
            </a:extLst>
          </p:cNvPr>
          <p:cNvSpPr/>
          <p:nvPr userDrawn="1"/>
        </p:nvSpPr>
        <p:spPr>
          <a:xfrm>
            <a:off x="2281438" y="3958017"/>
            <a:ext cx="3128762" cy="9210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9FCAF0B-1160-4607-A5DB-B6DA4D3B6132}"/>
              </a:ext>
            </a:extLst>
          </p:cNvPr>
          <p:cNvSpPr/>
          <p:nvPr userDrawn="1"/>
        </p:nvSpPr>
        <p:spPr>
          <a:xfrm>
            <a:off x="7045615" y="842311"/>
            <a:ext cx="3128762" cy="9210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4AA3BDD-7D99-47C9-8C58-0BEE4016B552}"/>
              </a:ext>
            </a:extLst>
          </p:cNvPr>
          <p:cNvSpPr/>
          <p:nvPr userDrawn="1"/>
        </p:nvSpPr>
        <p:spPr>
          <a:xfrm>
            <a:off x="7045615" y="1880127"/>
            <a:ext cx="3128762" cy="9210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FDE5A96-3738-4FFA-9E5A-CFEFD87EAD10}"/>
              </a:ext>
            </a:extLst>
          </p:cNvPr>
          <p:cNvSpPr/>
          <p:nvPr userDrawn="1"/>
        </p:nvSpPr>
        <p:spPr>
          <a:xfrm>
            <a:off x="7045615" y="2915595"/>
            <a:ext cx="3128762" cy="9210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BD7D16A5-7872-425B-BB1F-C614C018A3DC}"/>
              </a:ext>
            </a:extLst>
          </p:cNvPr>
          <p:cNvSpPr/>
          <p:nvPr userDrawn="1"/>
        </p:nvSpPr>
        <p:spPr>
          <a:xfrm>
            <a:off x="7045615" y="3958017"/>
            <a:ext cx="3128762" cy="9210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1069" y="842309"/>
            <a:ext cx="1520369" cy="91641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  <p:sp>
        <p:nvSpPr>
          <p:cNvPr id="73" name="Bildplatzhalter 4">
            <a:extLst>
              <a:ext uri="{FF2B5EF4-FFF2-40B4-BE49-F238E27FC236}">
                <a16:creationId xmlns:a16="http://schemas.microsoft.com/office/drawing/2014/main" id="{6A119193-1F71-4BEC-B026-63FF8344E9F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61069" y="1884731"/>
            <a:ext cx="1520369" cy="91641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22F3C23B-A1A0-44C1-8B1A-16C96C4FEE0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61069" y="2920199"/>
            <a:ext cx="1520369" cy="91641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1" name="Bildplatzhalter 4">
            <a:extLst>
              <a:ext uri="{FF2B5EF4-FFF2-40B4-BE49-F238E27FC236}">
                <a16:creationId xmlns:a16="http://schemas.microsoft.com/office/drawing/2014/main" id="{31D9F732-278E-4335-A997-3A9B0B4FBB53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61069" y="3962621"/>
            <a:ext cx="1520369" cy="91641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2" name="Bildplatzhalter 4">
            <a:extLst>
              <a:ext uri="{FF2B5EF4-FFF2-40B4-BE49-F238E27FC236}">
                <a16:creationId xmlns:a16="http://schemas.microsoft.com/office/drawing/2014/main" id="{F5834584-CCAA-4ACA-AC78-11410558842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25246" y="842309"/>
            <a:ext cx="1520369" cy="91641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3" name="Bildplatzhalter 4">
            <a:extLst>
              <a:ext uri="{FF2B5EF4-FFF2-40B4-BE49-F238E27FC236}">
                <a16:creationId xmlns:a16="http://schemas.microsoft.com/office/drawing/2014/main" id="{2935FB01-471E-4B44-8FD1-C9C8C6AEEDC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5525246" y="1882429"/>
            <a:ext cx="1520369" cy="91641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819355A9-47BE-45EF-90CD-ADBB16456C5B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5525246" y="2917897"/>
            <a:ext cx="1520369" cy="91641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5" name="Bildplatzhalter 4">
            <a:extLst>
              <a:ext uri="{FF2B5EF4-FFF2-40B4-BE49-F238E27FC236}">
                <a16:creationId xmlns:a16="http://schemas.microsoft.com/office/drawing/2014/main" id="{5F5BA631-97BF-4FA7-8C3E-A3D9218C7CA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5525246" y="3958017"/>
            <a:ext cx="1520369" cy="91641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8" name="Textplatzhalter 26">
            <a:extLst>
              <a:ext uri="{FF2B5EF4-FFF2-40B4-BE49-F238E27FC236}">
                <a16:creationId xmlns:a16="http://schemas.microsoft.com/office/drawing/2014/main" id="{CD59616B-333E-48E7-AC05-F0B13D3AE1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69845" y="952143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89" name="Textplatzhalter 35">
            <a:extLst>
              <a:ext uri="{FF2B5EF4-FFF2-40B4-BE49-F238E27FC236}">
                <a16:creationId xmlns:a16="http://schemas.microsoft.com/office/drawing/2014/main" id="{73C5EE01-AC79-4E21-BED3-9F2F5EE979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69844" y="1262669"/>
            <a:ext cx="2526888" cy="389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92" name="Textplatzhalter 26">
            <a:extLst>
              <a:ext uri="{FF2B5EF4-FFF2-40B4-BE49-F238E27FC236}">
                <a16:creationId xmlns:a16="http://schemas.microsoft.com/office/drawing/2014/main" id="{CC9232A2-FEFA-44D6-AEA8-80D4370C493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569845" y="1995036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93" name="Textplatzhalter 35">
            <a:extLst>
              <a:ext uri="{FF2B5EF4-FFF2-40B4-BE49-F238E27FC236}">
                <a16:creationId xmlns:a16="http://schemas.microsoft.com/office/drawing/2014/main" id="{828DF350-00BC-4951-B663-EE72A944278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569844" y="2305562"/>
            <a:ext cx="2526888" cy="389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99" name="Textplatzhalter 26">
            <a:extLst>
              <a:ext uri="{FF2B5EF4-FFF2-40B4-BE49-F238E27FC236}">
                <a16:creationId xmlns:a16="http://schemas.microsoft.com/office/drawing/2014/main" id="{41FC561B-1E90-4793-8A60-04861C3893F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569845" y="3028277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00" name="Textplatzhalter 35">
            <a:extLst>
              <a:ext uri="{FF2B5EF4-FFF2-40B4-BE49-F238E27FC236}">
                <a16:creationId xmlns:a16="http://schemas.microsoft.com/office/drawing/2014/main" id="{A825FB20-9F0A-4585-BAAB-AEA01864419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569844" y="3338803"/>
            <a:ext cx="2526888" cy="389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3" name="Textplatzhalter 26">
            <a:extLst>
              <a:ext uri="{FF2B5EF4-FFF2-40B4-BE49-F238E27FC236}">
                <a16:creationId xmlns:a16="http://schemas.microsoft.com/office/drawing/2014/main" id="{E5A26FED-5593-4616-B08B-7AA16B1654B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569845" y="4068166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04" name="Textplatzhalter 35">
            <a:extLst>
              <a:ext uri="{FF2B5EF4-FFF2-40B4-BE49-F238E27FC236}">
                <a16:creationId xmlns:a16="http://schemas.microsoft.com/office/drawing/2014/main" id="{BBD7BA9E-7FB4-42E3-8E46-4355C274D84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569844" y="4378692"/>
            <a:ext cx="2526888" cy="389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3" name="Textplatzhalter 26">
            <a:extLst>
              <a:ext uri="{FF2B5EF4-FFF2-40B4-BE49-F238E27FC236}">
                <a16:creationId xmlns:a16="http://schemas.microsoft.com/office/drawing/2014/main" id="{C4F7318B-4A5B-4D28-8D24-2A397F7226C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334022" y="952143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14" name="Textplatzhalter 35">
            <a:extLst>
              <a:ext uri="{FF2B5EF4-FFF2-40B4-BE49-F238E27FC236}">
                <a16:creationId xmlns:a16="http://schemas.microsoft.com/office/drawing/2014/main" id="{ED6A3286-BBAA-49CF-A071-7BBC921B69B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334021" y="1262669"/>
            <a:ext cx="2526888" cy="389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5" name="Textplatzhalter 26">
            <a:extLst>
              <a:ext uri="{FF2B5EF4-FFF2-40B4-BE49-F238E27FC236}">
                <a16:creationId xmlns:a16="http://schemas.microsoft.com/office/drawing/2014/main" id="{93A1C177-A3A7-4E73-82B2-FBF3769C37E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334022" y="1995036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16" name="Textplatzhalter 35">
            <a:extLst>
              <a:ext uri="{FF2B5EF4-FFF2-40B4-BE49-F238E27FC236}">
                <a16:creationId xmlns:a16="http://schemas.microsoft.com/office/drawing/2014/main" id="{3D6E6D89-B105-45BA-A727-DC6E3AD9D3D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334021" y="2305562"/>
            <a:ext cx="2526888" cy="389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7" name="Textplatzhalter 26">
            <a:extLst>
              <a:ext uri="{FF2B5EF4-FFF2-40B4-BE49-F238E27FC236}">
                <a16:creationId xmlns:a16="http://schemas.microsoft.com/office/drawing/2014/main" id="{98A16870-2F6E-4901-8F72-6C9038A1AAA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334022" y="3028277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18" name="Textplatzhalter 35">
            <a:extLst>
              <a:ext uri="{FF2B5EF4-FFF2-40B4-BE49-F238E27FC236}">
                <a16:creationId xmlns:a16="http://schemas.microsoft.com/office/drawing/2014/main" id="{84309BD9-C1CA-45A0-B75B-1559199CDA3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334021" y="3338803"/>
            <a:ext cx="2526888" cy="389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9" name="Textplatzhalter 26">
            <a:extLst>
              <a:ext uri="{FF2B5EF4-FFF2-40B4-BE49-F238E27FC236}">
                <a16:creationId xmlns:a16="http://schemas.microsoft.com/office/drawing/2014/main" id="{5B3A3F24-EFFA-4025-A18F-EAB8C2F572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334022" y="4068166"/>
            <a:ext cx="25308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20" name="Textplatzhalter 35">
            <a:extLst>
              <a:ext uri="{FF2B5EF4-FFF2-40B4-BE49-F238E27FC236}">
                <a16:creationId xmlns:a16="http://schemas.microsoft.com/office/drawing/2014/main" id="{AD1A3435-A68F-46F8-BE9E-3F5774E56D5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334021" y="4378692"/>
            <a:ext cx="2526888" cy="389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90704" marR="0" indent="-190704" algn="l" defTabSz="101708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35173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x Bild &amp; Überschrif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848B1AE4-3FBC-4B4C-BFB5-C32DF070AE47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29194AB9-E749-4A87-8E15-1D9DEC356B3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6870" y="1388156"/>
            <a:ext cx="3031405" cy="14725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50B56F4E-0BFA-4920-B730-DA8980EEF5E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53217" y="1388156"/>
            <a:ext cx="3025747" cy="14725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8" name="Bildplatzhalter 8">
            <a:extLst>
              <a:ext uri="{FF2B5EF4-FFF2-40B4-BE49-F238E27FC236}">
                <a16:creationId xmlns:a16="http://schemas.microsoft.com/office/drawing/2014/main" id="{59197E5E-CAA6-4798-9991-C64041E0A74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145367" y="1388156"/>
            <a:ext cx="3025747" cy="14725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Bildplatzhalter 8">
            <a:extLst>
              <a:ext uri="{FF2B5EF4-FFF2-40B4-BE49-F238E27FC236}">
                <a16:creationId xmlns:a16="http://schemas.microsoft.com/office/drawing/2014/main" id="{B41E54FF-4CEB-4DE2-A6DD-74E413EA421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66870" y="3407761"/>
            <a:ext cx="3031405" cy="14725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Bildplatzhalter 8">
            <a:extLst>
              <a:ext uri="{FF2B5EF4-FFF2-40B4-BE49-F238E27FC236}">
                <a16:creationId xmlns:a16="http://schemas.microsoft.com/office/drawing/2014/main" id="{5DB70E1B-DF22-40D3-9FE7-5F80AA5A7E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953217" y="3407761"/>
            <a:ext cx="3025747" cy="14725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Bildplatzhalter 8">
            <a:extLst>
              <a:ext uri="{FF2B5EF4-FFF2-40B4-BE49-F238E27FC236}">
                <a16:creationId xmlns:a16="http://schemas.microsoft.com/office/drawing/2014/main" id="{E6AB621D-02D8-4D1E-9980-2FFD82E9C58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145367" y="3407761"/>
            <a:ext cx="3025747" cy="14725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Textplatzhalter 26">
            <a:extLst>
              <a:ext uri="{FF2B5EF4-FFF2-40B4-BE49-F238E27FC236}">
                <a16:creationId xmlns:a16="http://schemas.microsoft.com/office/drawing/2014/main" id="{F69311EB-7498-9F4A-A1AF-DF3EB7A1D2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39813" y="1081916"/>
            <a:ext cx="2710798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9" name="Textplatzhalter 26">
            <a:extLst>
              <a:ext uri="{FF2B5EF4-FFF2-40B4-BE49-F238E27FC236}">
                <a16:creationId xmlns:a16="http://schemas.microsoft.com/office/drawing/2014/main" id="{FF4458D5-2A78-6D49-8C01-12B2B56485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00542" y="1081916"/>
            <a:ext cx="2730756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20" name="Textplatzhalter 26">
            <a:extLst>
              <a:ext uri="{FF2B5EF4-FFF2-40B4-BE49-F238E27FC236}">
                <a16:creationId xmlns:a16="http://schemas.microsoft.com/office/drawing/2014/main" id="{217875A8-9090-4A48-95C7-D300A77D29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98224" y="1081916"/>
            <a:ext cx="2725224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21" name="Textplatzhalter 26">
            <a:extLst>
              <a:ext uri="{FF2B5EF4-FFF2-40B4-BE49-F238E27FC236}">
                <a16:creationId xmlns:a16="http://schemas.microsoft.com/office/drawing/2014/main" id="{9E0DC7F7-3BB3-714B-BD16-48D1A36329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39813" y="3101520"/>
            <a:ext cx="2710798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22" name="Textplatzhalter 26">
            <a:extLst>
              <a:ext uri="{FF2B5EF4-FFF2-40B4-BE49-F238E27FC236}">
                <a16:creationId xmlns:a16="http://schemas.microsoft.com/office/drawing/2014/main" id="{5D1E6107-5BDC-2743-83DB-154C9F68569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00542" y="3101520"/>
            <a:ext cx="2730756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23" name="Textplatzhalter 26">
            <a:extLst>
              <a:ext uri="{FF2B5EF4-FFF2-40B4-BE49-F238E27FC236}">
                <a16:creationId xmlns:a16="http://schemas.microsoft.com/office/drawing/2014/main" id="{E99A4454-3C05-C447-AA4A-6D7DFF1DD0C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98224" y="3101520"/>
            <a:ext cx="2725224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0170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80B690A9-D725-4A5B-AFF5-04E4252F4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058336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1069" y="842308"/>
            <a:ext cx="1520369" cy="1958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5E8E2BFE-2BB0-4499-BEEE-6270E3B5F24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1069" y="2920201"/>
            <a:ext cx="1520369" cy="1958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525246" y="842308"/>
            <a:ext cx="1520369" cy="1958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457BB239-3FDE-4AA9-8F78-3A25A953B73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525246" y="2920201"/>
            <a:ext cx="1520369" cy="1958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406567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ck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134224" y="1129482"/>
            <a:ext cx="2760663" cy="129476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729999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0FB9F193-AE4C-4A2A-8E95-3F077B73C0F8}"/>
              </a:ext>
            </a:extLst>
          </p:cNvPr>
          <p:cNvSpPr/>
          <p:nvPr userDrawn="1"/>
        </p:nvSpPr>
        <p:spPr>
          <a:xfrm>
            <a:off x="-1" y="0"/>
            <a:ext cx="954447" cy="57213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lvl="0" algn="ctr"/>
            <a:endParaRPr lang="de-DE" sz="2002" dirty="0" err="1">
              <a:latin typeface="+mj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AAF3A9F-E821-499A-BEC2-27A3632A7486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67" y="1767"/>
          <a:ext cx="1765" cy="1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7" y="1767"/>
                        <a:ext cx="1765" cy="17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2"/>
          <p:cNvSpPr>
            <a:spLocks noGrp="1"/>
          </p:cNvSpPr>
          <p:nvPr>
            <p:ph type="pic" sz="quarter" idx="17"/>
          </p:nvPr>
        </p:nvSpPr>
        <p:spPr>
          <a:xfrm>
            <a:off x="761069" y="842310"/>
            <a:ext cx="9410045" cy="4036605"/>
          </a:xfrm>
          <a:prstGeom prst="rect">
            <a:avLst/>
          </a:prstGeom>
          <a:solidFill>
            <a:schemeClr val="bg1"/>
          </a:solidFill>
        </p:spPr>
        <p:txBody>
          <a:bodyPr anchor="b"/>
          <a:lstStyle>
            <a:lvl1pPr marL="0" indent="0" algn="ctr">
              <a:buNone/>
              <a:defRPr sz="1335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-1" y="842311"/>
            <a:ext cx="5759986" cy="1638261"/>
          </a:xfrm>
          <a:custGeom>
            <a:avLst/>
            <a:gdLst>
              <a:gd name="connsiteX0" fmla="*/ 0 w 4859308"/>
              <a:gd name="connsiteY0" fmla="*/ 0 h 1582989"/>
              <a:gd name="connsiteX1" fmla="*/ 4859308 w 4859308"/>
              <a:gd name="connsiteY1" fmla="*/ 0 h 1582989"/>
              <a:gd name="connsiteX2" fmla="*/ 4859308 w 4859308"/>
              <a:gd name="connsiteY2" fmla="*/ 1582989 h 1582989"/>
              <a:gd name="connsiteX3" fmla="*/ 0 w 4859308"/>
              <a:gd name="connsiteY3" fmla="*/ 1582989 h 1582989"/>
              <a:gd name="connsiteX4" fmla="*/ 0 w 4859308"/>
              <a:gd name="connsiteY4" fmla="*/ 0 h 1582989"/>
              <a:gd name="connsiteX0" fmla="*/ 0 w 5795653"/>
              <a:gd name="connsiteY0" fmla="*/ 0 h 1582989"/>
              <a:gd name="connsiteX1" fmla="*/ 4859308 w 5795653"/>
              <a:gd name="connsiteY1" fmla="*/ 0 h 1582989"/>
              <a:gd name="connsiteX2" fmla="*/ 5795653 w 5795653"/>
              <a:gd name="connsiteY2" fmla="*/ 1575674 h 1582989"/>
              <a:gd name="connsiteX3" fmla="*/ 0 w 5795653"/>
              <a:gd name="connsiteY3" fmla="*/ 1582989 h 1582989"/>
              <a:gd name="connsiteX4" fmla="*/ 0 w 5795653"/>
              <a:gd name="connsiteY4" fmla="*/ 0 h 1582989"/>
              <a:gd name="connsiteX0" fmla="*/ 0 w 5615439"/>
              <a:gd name="connsiteY0" fmla="*/ 0 h 1582989"/>
              <a:gd name="connsiteX1" fmla="*/ 4859308 w 5615439"/>
              <a:gd name="connsiteY1" fmla="*/ 0 h 1582989"/>
              <a:gd name="connsiteX2" fmla="*/ 5615439 w 5615439"/>
              <a:gd name="connsiteY2" fmla="*/ 1575674 h 1582989"/>
              <a:gd name="connsiteX3" fmla="*/ 0 w 5615439"/>
              <a:gd name="connsiteY3" fmla="*/ 1582989 h 1582989"/>
              <a:gd name="connsiteX4" fmla="*/ 0 w 5615439"/>
              <a:gd name="connsiteY4" fmla="*/ 0 h 1582989"/>
              <a:gd name="connsiteX0" fmla="*/ 0 w 5615439"/>
              <a:gd name="connsiteY0" fmla="*/ 0 h 1582989"/>
              <a:gd name="connsiteX1" fmla="*/ 4859308 w 5615439"/>
              <a:gd name="connsiteY1" fmla="*/ 0 h 1582989"/>
              <a:gd name="connsiteX2" fmla="*/ 5615439 w 5615439"/>
              <a:gd name="connsiteY2" fmla="*/ 1582989 h 1582989"/>
              <a:gd name="connsiteX3" fmla="*/ 0 w 5615439"/>
              <a:gd name="connsiteY3" fmla="*/ 1582989 h 1582989"/>
              <a:gd name="connsiteX4" fmla="*/ 0 w 5615439"/>
              <a:gd name="connsiteY4" fmla="*/ 0 h 158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5439" h="1582989">
                <a:moveTo>
                  <a:pt x="0" y="0"/>
                </a:moveTo>
                <a:lnTo>
                  <a:pt x="4859308" y="0"/>
                </a:lnTo>
                <a:lnTo>
                  <a:pt x="5615439" y="1582989"/>
                </a:lnTo>
                <a:lnTo>
                  <a:pt x="0" y="1582989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none" lIns="684000" tIns="180000" rIns="1260000" bIns="900000">
            <a:sp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el</a:t>
            </a:r>
            <a:r>
              <a:rPr lang="en-US" dirty="0"/>
              <a:t> / </a:t>
            </a:r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D65D662-8F5E-4621-A86C-89E2733D22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1068" y="1698315"/>
            <a:ext cx="1836721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667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676C5FC-564D-48EB-93AA-C8A3462DA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1068" y="2046978"/>
            <a:ext cx="1013098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667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535816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54880" y="1131399"/>
            <a:ext cx="1445647" cy="104942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41A9F677-4DAC-4A15-81B3-D4DEC6B7CDB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47750" y="2578746"/>
            <a:ext cx="1441879" cy="11306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6E7AB74-AF20-48A2-9C40-83C82E0F5A4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901520" y="2578746"/>
            <a:ext cx="1441879" cy="11306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75D2276-AC38-464F-ADA2-2D09EF2AEA1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745151" y="2578746"/>
            <a:ext cx="1441879" cy="11306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A15B1EE3-88E6-438B-8BAB-A140E6DA45F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595287" y="2578746"/>
            <a:ext cx="1441879" cy="11306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7F59E4D-3963-4A65-8E55-943B70C2615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439740" y="2578746"/>
            <a:ext cx="1441879" cy="11306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808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0647B6A-76EC-47E4-91B6-049EB09B2C5C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17" name="Bildplatzhalter 5">
            <a:extLst>
              <a:ext uri="{FF2B5EF4-FFF2-40B4-BE49-F238E27FC236}">
                <a16:creationId xmlns:a16="http://schemas.microsoft.com/office/drawing/2014/main" id="{407B090F-1EAA-4556-8981-5234D055CB2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490915" y="845221"/>
            <a:ext cx="4678811" cy="4033612"/>
          </a:xfrm>
          <a:custGeom>
            <a:avLst/>
            <a:gdLst>
              <a:gd name="connsiteX0" fmla="*/ 0 w 3719512"/>
              <a:gd name="connsiteY0" fmla="*/ 0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0 w 3719512"/>
              <a:gd name="connsiteY4" fmla="*/ 0 h 3313112"/>
              <a:gd name="connsiteX0" fmla="*/ 0 w 3719512"/>
              <a:gd name="connsiteY0" fmla="*/ 0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876 w 3719512"/>
              <a:gd name="connsiteY4" fmla="*/ 558078 h 3313112"/>
              <a:gd name="connsiteX5" fmla="*/ 0 w 3719512"/>
              <a:gd name="connsiteY5" fmla="*/ 0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876 w 3719512"/>
              <a:gd name="connsiteY4" fmla="*/ 558078 h 3313112"/>
              <a:gd name="connsiteX5" fmla="*/ 660400 w 3719512"/>
              <a:gd name="connsiteY5" fmla="*/ 4618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1113 w 3719512"/>
              <a:gd name="connsiteY4" fmla="*/ 1052223 h 3313112"/>
              <a:gd name="connsiteX5" fmla="*/ 660400 w 3719512"/>
              <a:gd name="connsiteY5" fmla="*/ 4618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1113 w 3719512"/>
              <a:gd name="connsiteY4" fmla="*/ 1052223 h 3313112"/>
              <a:gd name="connsiteX5" fmla="*/ 660400 w 3719512"/>
              <a:gd name="connsiteY5" fmla="*/ 4618 h 3313112"/>
              <a:gd name="connsiteX0" fmla="*/ 649288 w 3708400"/>
              <a:gd name="connsiteY0" fmla="*/ 4618 h 3313112"/>
              <a:gd name="connsiteX1" fmla="*/ 3708400 w 3708400"/>
              <a:gd name="connsiteY1" fmla="*/ 0 h 3313112"/>
              <a:gd name="connsiteX2" fmla="*/ 3708400 w 3708400"/>
              <a:gd name="connsiteY2" fmla="*/ 3313112 h 3313112"/>
              <a:gd name="connsiteX3" fmla="*/ 727797 w 3708400"/>
              <a:gd name="connsiteY3" fmla="*/ 3313112 h 3313112"/>
              <a:gd name="connsiteX4" fmla="*/ 1 w 3708400"/>
              <a:gd name="connsiteY4" fmla="*/ 1052223 h 3313112"/>
              <a:gd name="connsiteX5" fmla="*/ 649288 w 3708400"/>
              <a:gd name="connsiteY5" fmla="*/ 4618 h 3313112"/>
              <a:gd name="connsiteX0" fmla="*/ 649288 w 3708400"/>
              <a:gd name="connsiteY0" fmla="*/ 4618 h 3313127"/>
              <a:gd name="connsiteX1" fmla="*/ 3708400 w 3708400"/>
              <a:gd name="connsiteY1" fmla="*/ 0 h 3313127"/>
              <a:gd name="connsiteX2" fmla="*/ 3708400 w 3708400"/>
              <a:gd name="connsiteY2" fmla="*/ 3313112 h 3313127"/>
              <a:gd name="connsiteX3" fmla="*/ 727797 w 3708400"/>
              <a:gd name="connsiteY3" fmla="*/ 3313112 h 3313127"/>
              <a:gd name="connsiteX4" fmla="*/ 1 w 3708400"/>
              <a:gd name="connsiteY4" fmla="*/ 1052223 h 3313127"/>
              <a:gd name="connsiteX5" fmla="*/ 649288 w 3708400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38368 h 3313127"/>
              <a:gd name="connsiteX5" fmla="*/ 649287 w 3708399"/>
              <a:gd name="connsiteY5" fmla="*/ 4618 h 3313127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3708399 w 4251324"/>
              <a:gd name="connsiteY2" fmla="*/ 3308494 h 3308509"/>
              <a:gd name="connsiteX3" fmla="*/ 727796 w 4251324"/>
              <a:gd name="connsiteY3" fmla="*/ 3308494 h 3308509"/>
              <a:gd name="connsiteX4" fmla="*/ 0 w 4251324"/>
              <a:gd name="connsiteY4" fmla="*/ 1033750 h 3308509"/>
              <a:gd name="connsiteX5" fmla="*/ 649287 w 4251324"/>
              <a:gd name="connsiteY5" fmla="*/ 0 h 3308509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4248943 w 4251324"/>
              <a:gd name="connsiteY2" fmla="*/ 3306113 h 3308509"/>
              <a:gd name="connsiteX3" fmla="*/ 727796 w 4251324"/>
              <a:gd name="connsiteY3" fmla="*/ 3308494 h 3308509"/>
              <a:gd name="connsiteX4" fmla="*/ 0 w 4251324"/>
              <a:gd name="connsiteY4" fmla="*/ 1033750 h 3308509"/>
              <a:gd name="connsiteX5" fmla="*/ 649287 w 4251324"/>
              <a:gd name="connsiteY5" fmla="*/ 0 h 3308509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4248943 w 4251324"/>
              <a:gd name="connsiteY2" fmla="*/ 3306113 h 3308509"/>
              <a:gd name="connsiteX3" fmla="*/ 727796 w 4251324"/>
              <a:gd name="connsiteY3" fmla="*/ 3308494 h 3308509"/>
              <a:gd name="connsiteX4" fmla="*/ 0 w 4251324"/>
              <a:gd name="connsiteY4" fmla="*/ 1044382 h 3308509"/>
              <a:gd name="connsiteX5" fmla="*/ 649287 w 4251324"/>
              <a:gd name="connsiteY5" fmla="*/ 0 h 3308509"/>
              <a:gd name="connsiteX0" fmla="*/ 649287 w 4251523"/>
              <a:gd name="connsiteY0" fmla="*/ 0 h 3308509"/>
              <a:gd name="connsiteX1" fmla="*/ 4251324 w 4251523"/>
              <a:gd name="connsiteY1" fmla="*/ 2525 h 3308509"/>
              <a:gd name="connsiteX2" fmla="*/ 4251290 w 4251523"/>
              <a:gd name="connsiteY2" fmla="*/ 3306113 h 3308509"/>
              <a:gd name="connsiteX3" fmla="*/ 727796 w 4251523"/>
              <a:gd name="connsiteY3" fmla="*/ 3308494 h 3308509"/>
              <a:gd name="connsiteX4" fmla="*/ 0 w 4251523"/>
              <a:gd name="connsiteY4" fmla="*/ 1044382 h 3308509"/>
              <a:gd name="connsiteX5" fmla="*/ 649287 w 4251523"/>
              <a:gd name="connsiteY5" fmla="*/ 0 h 3308509"/>
              <a:gd name="connsiteX0" fmla="*/ 649287 w 4251524"/>
              <a:gd name="connsiteY0" fmla="*/ 0 h 3308509"/>
              <a:gd name="connsiteX1" fmla="*/ 4251324 w 4251524"/>
              <a:gd name="connsiteY1" fmla="*/ 2525 h 3308509"/>
              <a:gd name="connsiteX2" fmla="*/ 4251291 w 4251524"/>
              <a:gd name="connsiteY2" fmla="*/ 3306113 h 3308509"/>
              <a:gd name="connsiteX3" fmla="*/ 727796 w 4251524"/>
              <a:gd name="connsiteY3" fmla="*/ 3308494 h 3308509"/>
              <a:gd name="connsiteX4" fmla="*/ 0 w 4251524"/>
              <a:gd name="connsiteY4" fmla="*/ 1044382 h 3308509"/>
              <a:gd name="connsiteX5" fmla="*/ 649287 w 4251524"/>
              <a:gd name="connsiteY5" fmla="*/ 0 h 3308509"/>
              <a:gd name="connsiteX0" fmla="*/ 649287 w 4256061"/>
              <a:gd name="connsiteY0" fmla="*/ 0 h 3308509"/>
              <a:gd name="connsiteX1" fmla="*/ 4251324 w 4256061"/>
              <a:gd name="connsiteY1" fmla="*/ 2525 h 3308509"/>
              <a:gd name="connsiteX2" fmla="*/ 4255992 w 4256061"/>
              <a:gd name="connsiteY2" fmla="*/ 3308462 h 3308509"/>
              <a:gd name="connsiteX3" fmla="*/ 727796 w 4256061"/>
              <a:gd name="connsiteY3" fmla="*/ 3308494 h 3308509"/>
              <a:gd name="connsiteX4" fmla="*/ 0 w 4256061"/>
              <a:gd name="connsiteY4" fmla="*/ 1044382 h 3308509"/>
              <a:gd name="connsiteX5" fmla="*/ 649287 w 4256061"/>
              <a:gd name="connsiteY5" fmla="*/ 0 h 3308509"/>
              <a:gd name="connsiteX0" fmla="*/ 649287 w 4256225"/>
              <a:gd name="connsiteY0" fmla="*/ 2175 h 3310684"/>
              <a:gd name="connsiteX1" fmla="*/ 4256025 w 4256225"/>
              <a:gd name="connsiteY1" fmla="*/ 0 h 3310684"/>
              <a:gd name="connsiteX2" fmla="*/ 4255992 w 4256225"/>
              <a:gd name="connsiteY2" fmla="*/ 3310637 h 3310684"/>
              <a:gd name="connsiteX3" fmla="*/ 727796 w 4256225"/>
              <a:gd name="connsiteY3" fmla="*/ 3310669 h 3310684"/>
              <a:gd name="connsiteX4" fmla="*/ 0 w 4256225"/>
              <a:gd name="connsiteY4" fmla="*/ 1046557 h 3310684"/>
              <a:gd name="connsiteX5" fmla="*/ 649287 w 4256225"/>
              <a:gd name="connsiteY5" fmla="*/ 2175 h 3310684"/>
              <a:gd name="connsiteX0" fmla="*/ 649287 w 4256225"/>
              <a:gd name="connsiteY0" fmla="*/ 0 h 3308509"/>
              <a:gd name="connsiteX1" fmla="*/ 4256025 w 4256225"/>
              <a:gd name="connsiteY1" fmla="*/ 105 h 3308509"/>
              <a:gd name="connsiteX2" fmla="*/ 4255992 w 4256225"/>
              <a:gd name="connsiteY2" fmla="*/ 3308462 h 3308509"/>
              <a:gd name="connsiteX3" fmla="*/ 727796 w 4256225"/>
              <a:gd name="connsiteY3" fmla="*/ 3308494 h 3308509"/>
              <a:gd name="connsiteX4" fmla="*/ 0 w 4256225"/>
              <a:gd name="connsiteY4" fmla="*/ 1044382 h 3308509"/>
              <a:gd name="connsiteX5" fmla="*/ 649287 w 4256225"/>
              <a:gd name="connsiteY5" fmla="*/ 0 h 3308509"/>
              <a:gd name="connsiteX0" fmla="*/ 651566 w 4256225"/>
              <a:gd name="connsiteY0" fmla="*/ 0 h 3308509"/>
              <a:gd name="connsiteX1" fmla="*/ 4256025 w 4256225"/>
              <a:gd name="connsiteY1" fmla="*/ 105 h 3308509"/>
              <a:gd name="connsiteX2" fmla="*/ 4255992 w 4256225"/>
              <a:gd name="connsiteY2" fmla="*/ 3308462 h 3308509"/>
              <a:gd name="connsiteX3" fmla="*/ 727796 w 4256225"/>
              <a:gd name="connsiteY3" fmla="*/ 3308494 h 3308509"/>
              <a:gd name="connsiteX4" fmla="*/ 0 w 4256225"/>
              <a:gd name="connsiteY4" fmla="*/ 1044382 h 3308509"/>
              <a:gd name="connsiteX5" fmla="*/ 651566 w 4256225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073281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073281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854794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233128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233128 w 3837787"/>
              <a:gd name="connsiteY5" fmla="*/ 0 h 3308508"/>
              <a:gd name="connsiteX0" fmla="*/ 485641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5641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7787" h="3308508">
                <a:moveTo>
                  <a:pt x="488116" y="0"/>
                </a:moveTo>
                <a:lnTo>
                  <a:pt x="3837587" y="105"/>
                </a:lnTo>
                <a:cubicBezTo>
                  <a:pt x="3836793" y="1101301"/>
                  <a:pt x="3838348" y="2207266"/>
                  <a:pt x="3837554" y="3308462"/>
                </a:cubicBezTo>
                <a:lnTo>
                  <a:pt x="1090871" y="3308494"/>
                </a:lnTo>
                <a:cubicBezTo>
                  <a:pt x="1091496" y="3313785"/>
                  <a:pt x="409600" y="1886052"/>
                  <a:pt x="0" y="1027068"/>
                </a:cubicBezTo>
                <a:cubicBezTo>
                  <a:pt x="203863" y="609799"/>
                  <a:pt x="311629" y="380324"/>
                  <a:pt x="488116" y="0"/>
                </a:cubicBez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335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Grafik 9">
            <a:extLst>
              <a:ext uri="{FF2B5EF4-FFF2-40B4-BE49-F238E27FC236}">
                <a16:creationId xmlns:a16="http://schemas.microsoft.com/office/drawing/2014/main" id="{B262BFFC-01B3-7B4E-861E-DFDF4BE558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813" y="1122363"/>
            <a:ext cx="443787" cy="423804"/>
          </a:xfrm>
          <a:prstGeom prst="rect">
            <a:avLst/>
          </a:prstGeom>
        </p:spPr>
      </p:pic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799D434-E711-5848-80D1-3DAB88AD9C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11565" y="1122363"/>
            <a:ext cx="2868634" cy="492571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600642" indent="-200214">
              <a:spcBef>
                <a:spcPts val="0"/>
              </a:spcBef>
              <a:defRPr sz="1557">
                <a:solidFill>
                  <a:schemeClr val="tx1"/>
                </a:solidFill>
              </a:defRPr>
            </a:lvl2pPr>
            <a:lvl3pPr marL="1201284" indent="-200214">
              <a:spcBef>
                <a:spcPts val="0"/>
              </a:spcBef>
              <a:buFont typeface="Wingdings" panose="05000000000000000000" pitchFamily="2" charset="2"/>
              <a:buChar char="§"/>
              <a:defRPr sz="1557">
                <a:solidFill>
                  <a:schemeClr val="tx1"/>
                </a:solidFill>
              </a:defRPr>
            </a:lvl3pPr>
            <a:lvl4pPr>
              <a:defRPr sz="1557">
                <a:solidFill>
                  <a:schemeClr val="tx1"/>
                </a:solidFill>
              </a:defRPr>
            </a:lvl4pPr>
            <a:lvl5pPr>
              <a:defRPr sz="155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Hier eine Überschrift einfüg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B06A5221-38FC-0A45-B567-8FC9F2C8A2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11567" y="1854194"/>
            <a:ext cx="2868633" cy="274479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2205" indent="-192205">
              <a:spcBef>
                <a:spcPts val="667"/>
              </a:spcBef>
              <a:spcAft>
                <a:spcPts val="0"/>
              </a:spcAft>
              <a:buFontTx/>
              <a:buBlip>
                <a:blip r:embed="rId4"/>
              </a:buBlip>
              <a:defRPr sz="1200" b="0">
                <a:solidFill>
                  <a:schemeClr val="tx1"/>
                </a:solidFill>
              </a:defRPr>
            </a:lvl1pPr>
            <a:lvl2pPr marL="600642" indent="-200214">
              <a:spcBef>
                <a:spcPts val="0"/>
              </a:spcBef>
              <a:defRPr sz="1557">
                <a:solidFill>
                  <a:schemeClr val="tx1"/>
                </a:solidFill>
              </a:defRPr>
            </a:lvl2pPr>
            <a:lvl3pPr marL="1201284" indent="-200214">
              <a:spcBef>
                <a:spcPts val="0"/>
              </a:spcBef>
              <a:buFont typeface="Wingdings" panose="05000000000000000000" pitchFamily="2" charset="2"/>
              <a:buChar char="§"/>
              <a:defRPr sz="1557">
                <a:solidFill>
                  <a:schemeClr val="tx1"/>
                </a:solidFill>
              </a:defRPr>
            </a:lvl3pPr>
            <a:lvl4pPr>
              <a:defRPr sz="1557">
                <a:solidFill>
                  <a:schemeClr val="tx1"/>
                </a:solidFill>
              </a:defRPr>
            </a:lvl4pPr>
            <a:lvl5pPr>
              <a:defRPr sz="155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3F00AE2-1760-4A8E-9E28-E05FD932DC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759741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B505A4F-7D3B-42FC-8DCA-EC5497C7AEF7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9" name="Bildplatzhalter 21">
            <a:extLst>
              <a:ext uri="{FF2B5EF4-FFF2-40B4-BE49-F238E27FC236}">
                <a16:creationId xmlns:a16="http://schemas.microsoft.com/office/drawing/2014/main" id="{7795AC2F-CBA1-4222-B52B-D68E8EDAAEA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8302" y="847608"/>
            <a:ext cx="9402811" cy="21481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Grafik 9">
            <a:extLst>
              <a:ext uri="{FF2B5EF4-FFF2-40B4-BE49-F238E27FC236}">
                <a16:creationId xmlns:a16="http://schemas.microsoft.com/office/drawing/2014/main" id="{87FB08AA-E516-0A4A-A21E-573CFDDE58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0323" y="3313665"/>
            <a:ext cx="443787" cy="423804"/>
          </a:xfrm>
          <a:prstGeom prst="rect">
            <a:avLst/>
          </a:prstGeom>
        </p:spPr>
      </p:pic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9CC19695-BF1E-4D40-A7A4-9A19E3812B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11565" y="3313666"/>
            <a:ext cx="1986711" cy="492571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600642" indent="-200214">
              <a:spcBef>
                <a:spcPts val="0"/>
              </a:spcBef>
              <a:defRPr sz="1557">
                <a:solidFill>
                  <a:schemeClr val="tx1"/>
                </a:solidFill>
              </a:defRPr>
            </a:lvl2pPr>
            <a:lvl3pPr marL="1201284" indent="-200214">
              <a:spcBef>
                <a:spcPts val="0"/>
              </a:spcBef>
              <a:buFont typeface="Wingdings" panose="05000000000000000000" pitchFamily="2" charset="2"/>
              <a:buChar char="§"/>
              <a:defRPr sz="1557">
                <a:solidFill>
                  <a:schemeClr val="tx1"/>
                </a:solidFill>
              </a:defRPr>
            </a:lvl3pPr>
            <a:lvl4pPr>
              <a:defRPr sz="1557">
                <a:solidFill>
                  <a:schemeClr val="tx1"/>
                </a:solidFill>
              </a:defRPr>
            </a:lvl4pPr>
            <a:lvl5pPr>
              <a:defRPr sz="155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Hier eine Überschrift einfüg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EA82907D-DAAA-7A46-9336-76F36E6154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89400" y="3313665"/>
            <a:ext cx="2760663" cy="128532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2205" indent="-192205">
              <a:spcBef>
                <a:spcPts val="667"/>
              </a:spcBef>
              <a:spcAft>
                <a:spcPts val="0"/>
              </a:spcAft>
              <a:buFontTx/>
              <a:buBlip>
                <a:blip r:embed="rId4"/>
              </a:buBlip>
              <a:defRPr sz="1200" b="0">
                <a:solidFill>
                  <a:schemeClr val="tx1"/>
                </a:solidFill>
              </a:defRPr>
            </a:lvl1pPr>
            <a:lvl2pPr marL="600642" indent="-200214">
              <a:spcBef>
                <a:spcPts val="0"/>
              </a:spcBef>
              <a:defRPr sz="1557">
                <a:solidFill>
                  <a:schemeClr val="tx1"/>
                </a:solidFill>
              </a:defRPr>
            </a:lvl2pPr>
            <a:lvl3pPr marL="1201284" indent="-200214">
              <a:spcBef>
                <a:spcPts val="0"/>
              </a:spcBef>
              <a:buFont typeface="Wingdings" panose="05000000000000000000" pitchFamily="2" charset="2"/>
              <a:buChar char="§"/>
              <a:defRPr sz="1557">
                <a:solidFill>
                  <a:schemeClr val="tx1"/>
                </a:solidFill>
              </a:defRPr>
            </a:lvl3pPr>
            <a:lvl4pPr>
              <a:defRPr sz="1557">
                <a:solidFill>
                  <a:schemeClr val="tx1"/>
                </a:solidFill>
              </a:defRPr>
            </a:lvl4pPr>
            <a:lvl5pPr>
              <a:defRPr sz="155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9FBB1583-2824-224E-83B8-EA073C6A1A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39226" y="3313665"/>
            <a:ext cx="2749312" cy="128532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2205" indent="-192205">
              <a:spcBef>
                <a:spcPts val="667"/>
              </a:spcBef>
              <a:spcAft>
                <a:spcPts val="0"/>
              </a:spcAft>
              <a:buFontTx/>
              <a:buBlip>
                <a:blip r:embed="rId4"/>
              </a:buBlip>
              <a:defRPr sz="1200" b="0">
                <a:solidFill>
                  <a:schemeClr val="tx1"/>
                </a:solidFill>
              </a:defRPr>
            </a:lvl1pPr>
            <a:lvl2pPr marL="600642" indent="-200214">
              <a:spcBef>
                <a:spcPts val="0"/>
              </a:spcBef>
              <a:defRPr sz="1557">
                <a:solidFill>
                  <a:schemeClr val="tx1"/>
                </a:solidFill>
              </a:defRPr>
            </a:lvl2pPr>
            <a:lvl3pPr marL="1201284" indent="-200214">
              <a:spcBef>
                <a:spcPts val="0"/>
              </a:spcBef>
              <a:buFont typeface="Wingdings" panose="05000000000000000000" pitchFamily="2" charset="2"/>
              <a:buChar char="§"/>
              <a:defRPr sz="1557">
                <a:solidFill>
                  <a:schemeClr val="tx1"/>
                </a:solidFill>
              </a:defRPr>
            </a:lvl3pPr>
            <a:lvl4pPr>
              <a:defRPr sz="1557">
                <a:solidFill>
                  <a:schemeClr val="tx1"/>
                </a:solidFill>
              </a:defRPr>
            </a:lvl4pPr>
            <a:lvl5pPr>
              <a:defRPr sz="155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5F5DC176-7BE9-4F92-BDA6-1DEF3CD64E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094929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CAF15E4D-60BE-4F06-BFF9-D3166E58232A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8" name="Bildplatzhalter 21">
            <a:extLst>
              <a:ext uri="{FF2B5EF4-FFF2-40B4-BE49-F238E27FC236}">
                <a16:creationId xmlns:a16="http://schemas.microsoft.com/office/drawing/2014/main" id="{0145011A-6A29-4C1B-8AC4-465FEC6462A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30561" y="847607"/>
            <a:ext cx="5640552" cy="4031432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422B33E6-C66E-0642-8824-5F9F9706FE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42353" y="1126116"/>
            <a:ext cx="3047047" cy="3472871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0021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1pPr>
            <a:lvl2pPr marL="600642" indent="-200214">
              <a:spcBef>
                <a:spcPts val="667"/>
              </a:spcBef>
              <a:defRPr sz="1200">
                <a:solidFill>
                  <a:schemeClr val="tx1"/>
                </a:solidFill>
              </a:defRPr>
            </a:lvl2pPr>
            <a:lvl3pPr marL="1201284" indent="-200214">
              <a:spcBef>
                <a:spcPts val="667"/>
              </a:spcBef>
              <a:buFontTx/>
              <a:buBlip>
                <a:blip r:embed="rId2"/>
              </a:buBlip>
              <a:defRPr sz="1200">
                <a:solidFill>
                  <a:schemeClr val="tx1"/>
                </a:solidFill>
              </a:defRPr>
            </a:lvl3pPr>
            <a:lvl4pPr>
              <a:spcBef>
                <a:spcPts val="667"/>
              </a:spcBef>
              <a:defRPr sz="1200">
                <a:solidFill>
                  <a:schemeClr val="tx1"/>
                </a:solidFill>
              </a:defRPr>
            </a:lvl4pPr>
            <a:lvl5pPr>
              <a:defRPr sz="155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B67F71B-F595-4649-8D2C-5C49019090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1627705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1">
            <a:extLst>
              <a:ext uri="{FF2B5EF4-FFF2-40B4-BE49-F238E27FC236}">
                <a16:creationId xmlns:a16="http://schemas.microsoft.com/office/drawing/2014/main" id="{49F33779-D48C-4918-BFBC-98F9EAB5E2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8302" y="847607"/>
            <a:ext cx="9402811" cy="403143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92C23A0-BE19-47B4-87C2-3E85D8F0DE9B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6162EEA3-EE2C-4CDD-A308-71519187F1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03984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1">
            <a:extLst>
              <a:ext uri="{FF2B5EF4-FFF2-40B4-BE49-F238E27FC236}">
                <a16:creationId xmlns:a16="http://schemas.microsoft.com/office/drawing/2014/main" id="{4A277F98-0860-4217-9FE3-212F90CCFF8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71113" cy="4879040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94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83FAB4AF-8D89-4B18-851A-0C3BBBA018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30561" y="847607"/>
            <a:ext cx="5640552" cy="4031432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DA205671-6F91-451B-93C2-AB36C1D775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8302" y="847343"/>
            <a:ext cx="5631897" cy="4031697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4500">
                <a:moveTo>
                  <a:pt x="0" y="238"/>
                </a:moveTo>
                <a:lnTo>
                  <a:pt x="3331072" y="0"/>
                </a:lnTo>
                <a:lnTo>
                  <a:pt x="5063169" y="3624500"/>
                </a:lnTo>
                <a:lnTo>
                  <a:pt x="0" y="3624500"/>
                </a:lnTo>
                <a:lnTo>
                  <a:pt x="0" y="238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B9C06851-A738-455A-B943-31E540C65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0247632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21">
            <a:extLst>
              <a:ext uri="{FF2B5EF4-FFF2-40B4-BE49-F238E27FC236}">
                <a16:creationId xmlns:a16="http://schemas.microsoft.com/office/drawing/2014/main" id="{DE81FEC8-02C9-459A-BC47-4D4EEBE49B2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-2691"/>
            <a:ext cx="6224208" cy="4881730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2419 h 4388681"/>
              <a:gd name="connsiteX1" fmla="*/ 3500772 w 5595667"/>
              <a:gd name="connsiteY1" fmla="*/ 0 h 4388681"/>
              <a:gd name="connsiteX2" fmla="*/ 5595667 w 5595667"/>
              <a:gd name="connsiteY2" fmla="*/ 4388681 h 4388681"/>
              <a:gd name="connsiteX3" fmla="*/ 0 w 5595667"/>
              <a:gd name="connsiteY3" fmla="*/ 4388681 h 4388681"/>
              <a:gd name="connsiteX4" fmla="*/ 0 w 5595667"/>
              <a:gd name="connsiteY4" fmla="*/ 2419 h 4388681"/>
              <a:gd name="connsiteX0" fmla="*/ 0 w 5595667"/>
              <a:gd name="connsiteY0" fmla="*/ 2419 h 4388681"/>
              <a:gd name="connsiteX1" fmla="*/ 3495934 w 5595667"/>
              <a:gd name="connsiteY1" fmla="*/ 0 h 4388681"/>
              <a:gd name="connsiteX2" fmla="*/ 5595667 w 5595667"/>
              <a:gd name="connsiteY2" fmla="*/ 4388681 h 4388681"/>
              <a:gd name="connsiteX3" fmla="*/ 0 w 5595667"/>
              <a:gd name="connsiteY3" fmla="*/ 4388681 h 4388681"/>
              <a:gd name="connsiteX4" fmla="*/ 0 w 5595667"/>
              <a:gd name="connsiteY4" fmla="*/ 2419 h 4388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8681">
                <a:moveTo>
                  <a:pt x="0" y="2419"/>
                </a:moveTo>
                <a:lnTo>
                  <a:pt x="3495934" y="0"/>
                </a:lnTo>
                <a:lnTo>
                  <a:pt x="5595667" y="4388681"/>
                </a:lnTo>
                <a:lnTo>
                  <a:pt x="0" y="4388681"/>
                </a:lnTo>
                <a:lnTo>
                  <a:pt x="0" y="2419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21">
            <a:extLst>
              <a:ext uri="{FF2B5EF4-FFF2-40B4-BE49-F238E27FC236}">
                <a16:creationId xmlns:a16="http://schemas.microsoft.com/office/drawing/2014/main" id="{28FD84B1-3C5F-4A6E-8F37-DC31AB76CAD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46904" y="0"/>
            <a:ext cx="6224208" cy="4879040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8681"/>
              <a:gd name="connsiteX1" fmla="*/ 5595667 w 5595667"/>
              <a:gd name="connsiteY1" fmla="*/ 0 h 4388681"/>
              <a:gd name="connsiteX2" fmla="*/ 5595667 w 5595667"/>
              <a:gd name="connsiteY2" fmla="*/ 4386262 h 4388681"/>
              <a:gd name="connsiteX3" fmla="*/ 2102152 w 5595667"/>
              <a:gd name="connsiteY3" fmla="*/ 4388681 h 4388681"/>
              <a:gd name="connsiteX4" fmla="*/ 0 w 5595667"/>
              <a:gd name="connsiteY4" fmla="*/ 0 h 4388681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3843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6262 h 4386262"/>
              <a:gd name="connsiteX4" fmla="*/ 0 w 5595667"/>
              <a:gd name="connsiteY4" fmla="*/ 0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6262">
                <a:moveTo>
                  <a:pt x="0" y="0"/>
                </a:moveTo>
                <a:lnTo>
                  <a:pt x="5595667" y="0"/>
                </a:lnTo>
                <a:lnTo>
                  <a:pt x="5595667" y="4386262"/>
                </a:lnTo>
                <a:lnTo>
                  <a:pt x="2102152" y="4386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0945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1E3A6839-94DD-4584-B049-304E6FF1D0F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8302" y="847607"/>
            <a:ext cx="4058415" cy="4031432"/>
          </a:xfrm>
          <a:custGeom>
            <a:avLst/>
            <a:gdLst>
              <a:gd name="connsiteX0" fmla="*/ 0 w 3648583"/>
              <a:gd name="connsiteY0" fmla="*/ 0 h 3624262"/>
              <a:gd name="connsiteX1" fmla="*/ 3648583 w 3648583"/>
              <a:gd name="connsiteY1" fmla="*/ 0 h 3624262"/>
              <a:gd name="connsiteX2" fmla="*/ 3648583 w 3648583"/>
              <a:gd name="connsiteY2" fmla="*/ 3624262 h 3624262"/>
              <a:gd name="connsiteX3" fmla="*/ 0 w 3648583"/>
              <a:gd name="connsiteY3" fmla="*/ 3624262 h 3624262"/>
              <a:gd name="connsiteX4" fmla="*/ 0 w 3648583"/>
              <a:gd name="connsiteY4" fmla="*/ 0 h 3624262"/>
              <a:gd name="connsiteX0" fmla="*/ 0 w 3648583"/>
              <a:gd name="connsiteY0" fmla="*/ 0 h 3624262"/>
              <a:gd name="connsiteX1" fmla="*/ 1915033 w 3648583"/>
              <a:gd name="connsiteY1" fmla="*/ 0 h 3624262"/>
              <a:gd name="connsiteX2" fmla="*/ 3648583 w 3648583"/>
              <a:gd name="connsiteY2" fmla="*/ 3624262 h 3624262"/>
              <a:gd name="connsiteX3" fmla="*/ 0 w 3648583"/>
              <a:gd name="connsiteY3" fmla="*/ 3624262 h 3624262"/>
              <a:gd name="connsiteX4" fmla="*/ 0 w 3648583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8583" h="3624262">
                <a:moveTo>
                  <a:pt x="0" y="0"/>
                </a:moveTo>
                <a:lnTo>
                  <a:pt x="1915033" y="0"/>
                </a:lnTo>
                <a:lnTo>
                  <a:pt x="3648583" y="3624262"/>
                </a:lnTo>
                <a:lnTo>
                  <a:pt x="0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1">
            <a:extLst>
              <a:ext uri="{FF2B5EF4-FFF2-40B4-BE49-F238E27FC236}">
                <a16:creationId xmlns:a16="http://schemas.microsoft.com/office/drawing/2014/main" id="{80DCE87E-665C-4F26-B7E0-9A5523307C8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8243" y="847607"/>
            <a:ext cx="4082870" cy="4031432"/>
          </a:xfrm>
          <a:custGeom>
            <a:avLst/>
            <a:gdLst>
              <a:gd name="connsiteX0" fmla="*/ 0 w 3670568"/>
              <a:gd name="connsiteY0" fmla="*/ 0 h 3624262"/>
              <a:gd name="connsiteX1" fmla="*/ 3670568 w 3670568"/>
              <a:gd name="connsiteY1" fmla="*/ 0 h 3624262"/>
              <a:gd name="connsiteX2" fmla="*/ 3670568 w 3670568"/>
              <a:gd name="connsiteY2" fmla="*/ 3624262 h 3624262"/>
              <a:gd name="connsiteX3" fmla="*/ 0 w 3670568"/>
              <a:gd name="connsiteY3" fmla="*/ 3624262 h 3624262"/>
              <a:gd name="connsiteX4" fmla="*/ 0 w 3670568"/>
              <a:gd name="connsiteY4" fmla="*/ 0 h 3624262"/>
              <a:gd name="connsiteX0" fmla="*/ 0 w 3670568"/>
              <a:gd name="connsiteY0" fmla="*/ 0 h 3624262"/>
              <a:gd name="connsiteX1" fmla="*/ 3670568 w 3670568"/>
              <a:gd name="connsiteY1" fmla="*/ 0 h 3624262"/>
              <a:gd name="connsiteX2" fmla="*/ 3670568 w 3670568"/>
              <a:gd name="connsiteY2" fmla="*/ 3624262 h 3624262"/>
              <a:gd name="connsiteX3" fmla="*/ 1735931 w 3670568"/>
              <a:gd name="connsiteY3" fmla="*/ 3624262 h 3624262"/>
              <a:gd name="connsiteX4" fmla="*/ 0 w 3670568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0568" h="3624262">
                <a:moveTo>
                  <a:pt x="0" y="0"/>
                </a:moveTo>
                <a:lnTo>
                  <a:pt x="3670568" y="0"/>
                </a:lnTo>
                <a:lnTo>
                  <a:pt x="3670568" y="3624262"/>
                </a:lnTo>
                <a:lnTo>
                  <a:pt x="1735931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7" name="Bildplatzhalter 21">
            <a:extLst>
              <a:ext uri="{FF2B5EF4-FFF2-40B4-BE49-F238E27FC236}">
                <a16:creationId xmlns:a16="http://schemas.microsoft.com/office/drawing/2014/main" id="{C9BA9FBD-B328-45A8-804F-0500B3CD6A5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957080" y="847607"/>
            <a:ext cx="5000801" cy="4031432"/>
          </a:xfrm>
          <a:custGeom>
            <a:avLst/>
            <a:gdLst>
              <a:gd name="connsiteX0" fmla="*/ 0 w 4495803"/>
              <a:gd name="connsiteY0" fmla="*/ 0 h 3624262"/>
              <a:gd name="connsiteX1" fmla="*/ 4495803 w 4495803"/>
              <a:gd name="connsiteY1" fmla="*/ 0 h 3624262"/>
              <a:gd name="connsiteX2" fmla="*/ 4495803 w 4495803"/>
              <a:gd name="connsiteY2" fmla="*/ 3624262 h 3624262"/>
              <a:gd name="connsiteX3" fmla="*/ 0 w 4495803"/>
              <a:gd name="connsiteY3" fmla="*/ 3624262 h 3624262"/>
              <a:gd name="connsiteX4" fmla="*/ 0 w 4495803"/>
              <a:gd name="connsiteY4" fmla="*/ 0 h 3624262"/>
              <a:gd name="connsiteX0" fmla="*/ 0 w 4495803"/>
              <a:gd name="connsiteY0" fmla="*/ 2381 h 3626643"/>
              <a:gd name="connsiteX1" fmla="*/ 2764634 w 4495803"/>
              <a:gd name="connsiteY1" fmla="*/ 0 h 3626643"/>
              <a:gd name="connsiteX2" fmla="*/ 4495803 w 4495803"/>
              <a:gd name="connsiteY2" fmla="*/ 3626643 h 3626643"/>
              <a:gd name="connsiteX3" fmla="*/ 0 w 4495803"/>
              <a:gd name="connsiteY3" fmla="*/ 3626643 h 3626643"/>
              <a:gd name="connsiteX4" fmla="*/ 0 w 4495803"/>
              <a:gd name="connsiteY4" fmla="*/ 2381 h 3626643"/>
              <a:gd name="connsiteX0" fmla="*/ 0 w 4495803"/>
              <a:gd name="connsiteY0" fmla="*/ 0 h 3624262"/>
              <a:gd name="connsiteX1" fmla="*/ 2762253 w 4495803"/>
              <a:gd name="connsiteY1" fmla="*/ 1 h 3624262"/>
              <a:gd name="connsiteX2" fmla="*/ 4495803 w 4495803"/>
              <a:gd name="connsiteY2" fmla="*/ 3624262 h 3624262"/>
              <a:gd name="connsiteX3" fmla="*/ 0 w 4495803"/>
              <a:gd name="connsiteY3" fmla="*/ 3624262 h 3624262"/>
              <a:gd name="connsiteX4" fmla="*/ 0 w 4495803"/>
              <a:gd name="connsiteY4" fmla="*/ 0 h 3624262"/>
              <a:gd name="connsiteX0" fmla="*/ 0 w 4495803"/>
              <a:gd name="connsiteY0" fmla="*/ 0 h 3624262"/>
              <a:gd name="connsiteX1" fmla="*/ 2762253 w 4495803"/>
              <a:gd name="connsiteY1" fmla="*/ 1 h 3624262"/>
              <a:gd name="connsiteX2" fmla="*/ 4495803 w 4495803"/>
              <a:gd name="connsiteY2" fmla="*/ 3624262 h 3624262"/>
              <a:gd name="connsiteX3" fmla="*/ 1731168 w 4495803"/>
              <a:gd name="connsiteY3" fmla="*/ 3624262 h 3624262"/>
              <a:gd name="connsiteX4" fmla="*/ 0 w 4495803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95803" h="3624262">
                <a:moveTo>
                  <a:pt x="0" y="0"/>
                </a:moveTo>
                <a:lnTo>
                  <a:pt x="2762253" y="1"/>
                </a:lnTo>
                <a:lnTo>
                  <a:pt x="4495803" y="3624262"/>
                </a:lnTo>
                <a:lnTo>
                  <a:pt x="1731168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7775D768-A633-4118-B5C7-2F3DFD9F52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66598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1">
            <a:extLst>
              <a:ext uri="{FF2B5EF4-FFF2-40B4-BE49-F238E27FC236}">
                <a16:creationId xmlns:a16="http://schemas.microsoft.com/office/drawing/2014/main" id="{F6835963-99FF-4A3C-A109-A75FC6EBCF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8302" y="847343"/>
            <a:ext cx="5631897" cy="4031697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4500">
                <a:moveTo>
                  <a:pt x="0" y="238"/>
                </a:moveTo>
                <a:lnTo>
                  <a:pt x="3331072" y="0"/>
                </a:lnTo>
                <a:lnTo>
                  <a:pt x="5063169" y="3624500"/>
                </a:lnTo>
                <a:lnTo>
                  <a:pt x="0" y="3624500"/>
                </a:lnTo>
                <a:lnTo>
                  <a:pt x="0" y="238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21">
            <a:extLst>
              <a:ext uri="{FF2B5EF4-FFF2-40B4-BE49-F238E27FC236}">
                <a16:creationId xmlns:a16="http://schemas.microsoft.com/office/drawing/2014/main" id="{0477E770-F5E0-401B-BCB0-9D9D8A0355C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30561" y="847608"/>
            <a:ext cx="5640552" cy="1986009"/>
          </a:xfrm>
          <a:custGeom>
            <a:avLst/>
            <a:gdLst>
              <a:gd name="connsiteX0" fmla="*/ 0 w 5070950"/>
              <a:gd name="connsiteY0" fmla="*/ 0 h 1785424"/>
              <a:gd name="connsiteX1" fmla="*/ 5070950 w 5070950"/>
              <a:gd name="connsiteY1" fmla="*/ 0 h 1785424"/>
              <a:gd name="connsiteX2" fmla="*/ 5070950 w 5070950"/>
              <a:gd name="connsiteY2" fmla="*/ 1785424 h 1785424"/>
              <a:gd name="connsiteX3" fmla="*/ 0 w 5070950"/>
              <a:gd name="connsiteY3" fmla="*/ 1785424 h 1785424"/>
              <a:gd name="connsiteX4" fmla="*/ 0 w 5070950"/>
              <a:gd name="connsiteY4" fmla="*/ 0 h 1785424"/>
              <a:gd name="connsiteX0" fmla="*/ 0 w 5070950"/>
              <a:gd name="connsiteY0" fmla="*/ 0 h 1785424"/>
              <a:gd name="connsiteX1" fmla="*/ 5070950 w 5070950"/>
              <a:gd name="connsiteY1" fmla="*/ 0 h 1785424"/>
              <a:gd name="connsiteX2" fmla="*/ 5070950 w 5070950"/>
              <a:gd name="connsiteY2" fmla="*/ 1785424 h 1785424"/>
              <a:gd name="connsiteX3" fmla="*/ 854869 w 5070950"/>
              <a:gd name="connsiteY3" fmla="*/ 1785424 h 1785424"/>
              <a:gd name="connsiteX4" fmla="*/ 0 w 5070950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1785424">
                <a:moveTo>
                  <a:pt x="0" y="0"/>
                </a:moveTo>
                <a:lnTo>
                  <a:pt x="5070950" y="0"/>
                </a:lnTo>
                <a:lnTo>
                  <a:pt x="5070950" y="1785424"/>
                </a:lnTo>
                <a:lnTo>
                  <a:pt x="854869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1">
            <a:extLst>
              <a:ext uri="{FF2B5EF4-FFF2-40B4-BE49-F238E27FC236}">
                <a16:creationId xmlns:a16="http://schemas.microsoft.com/office/drawing/2014/main" id="{338637C0-A93B-4AA6-A323-B2CD84B1C1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705" y="2887732"/>
            <a:ext cx="4664407" cy="1991308"/>
          </a:xfrm>
          <a:custGeom>
            <a:avLst/>
            <a:gdLst>
              <a:gd name="connsiteX0" fmla="*/ 0 w 3338511"/>
              <a:gd name="connsiteY0" fmla="*/ 0 h 1790188"/>
              <a:gd name="connsiteX1" fmla="*/ 3338511 w 3338511"/>
              <a:gd name="connsiteY1" fmla="*/ 0 h 1790188"/>
              <a:gd name="connsiteX2" fmla="*/ 3338511 w 3338511"/>
              <a:gd name="connsiteY2" fmla="*/ 1790188 h 1790188"/>
              <a:gd name="connsiteX3" fmla="*/ 0 w 3338511"/>
              <a:gd name="connsiteY3" fmla="*/ 1790188 h 1790188"/>
              <a:gd name="connsiteX4" fmla="*/ 0 w 3338511"/>
              <a:gd name="connsiteY4" fmla="*/ 0 h 1790188"/>
              <a:gd name="connsiteX0" fmla="*/ 0 w 4190998"/>
              <a:gd name="connsiteY0" fmla="*/ 2381 h 1790188"/>
              <a:gd name="connsiteX1" fmla="*/ 4190998 w 4190998"/>
              <a:gd name="connsiteY1" fmla="*/ 0 h 1790188"/>
              <a:gd name="connsiteX2" fmla="*/ 4190998 w 4190998"/>
              <a:gd name="connsiteY2" fmla="*/ 1790188 h 1790188"/>
              <a:gd name="connsiteX3" fmla="*/ 852487 w 4190998"/>
              <a:gd name="connsiteY3" fmla="*/ 1790188 h 1790188"/>
              <a:gd name="connsiteX4" fmla="*/ 0 w 4190998"/>
              <a:gd name="connsiteY4" fmla="*/ 2381 h 1790188"/>
              <a:gd name="connsiteX0" fmla="*/ 0 w 4193380"/>
              <a:gd name="connsiteY0" fmla="*/ 0 h 1790188"/>
              <a:gd name="connsiteX1" fmla="*/ 4193380 w 4193380"/>
              <a:gd name="connsiteY1" fmla="*/ 0 h 1790188"/>
              <a:gd name="connsiteX2" fmla="*/ 4193380 w 4193380"/>
              <a:gd name="connsiteY2" fmla="*/ 1790188 h 1790188"/>
              <a:gd name="connsiteX3" fmla="*/ 854869 w 4193380"/>
              <a:gd name="connsiteY3" fmla="*/ 1790188 h 1790188"/>
              <a:gd name="connsiteX4" fmla="*/ 0 w 4193380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93380" h="1790188">
                <a:moveTo>
                  <a:pt x="0" y="0"/>
                </a:moveTo>
                <a:lnTo>
                  <a:pt x="4193380" y="0"/>
                </a:lnTo>
                <a:lnTo>
                  <a:pt x="4193380" y="1790188"/>
                </a:lnTo>
                <a:lnTo>
                  <a:pt x="854869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2A34CF17-47B0-4417-B30F-BDEA62A858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5998964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0FB9F193-AE4C-4A2A-8E95-3F077B73C0F8}"/>
              </a:ext>
            </a:extLst>
          </p:cNvPr>
          <p:cNvSpPr/>
          <p:nvPr userDrawn="1"/>
        </p:nvSpPr>
        <p:spPr>
          <a:xfrm>
            <a:off x="-1" y="0"/>
            <a:ext cx="954447" cy="57213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lvl="0" algn="ctr"/>
            <a:endParaRPr lang="de-DE" sz="2002" dirty="0" err="1">
              <a:latin typeface="+mj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AAF3A9F-E821-499A-BEC2-27A3632A7486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67" y="1767"/>
          <a:ext cx="1765" cy="1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7" y="1767"/>
                        <a:ext cx="1765" cy="17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94BD3BE-CC83-4E02-96D3-23D47B3323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45288" y="1124607"/>
            <a:ext cx="8848725" cy="346890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00214" indent="-200214">
              <a:spcBef>
                <a:spcPts val="667"/>
              </a:spcBef>
              <a:buFontTx/>
              <a:buBlip>
                <a:blip r:embed="rId6"/>
              </a:buBlip>
              <a:defRPr sz="1200">
                <a:solidFill>
                  <a:schemeClr val="tx1"/>
                </a:solidFill>
              </a:defRPr>
            </a:lvl1pPr>
            <a:lvl2pPr marL="600642" indent="-200214">
              <a:spcBef>
                <a:spcPts val="667"/>
              </a:spcBef>
              <a:defRPr sz="1200">
                <a:solidFill>
                  <a:schemeClr val="tx1"/>
                </a:solidFill>
              </a:defRPr>
            </a:lvl2pPr>
            <a:lvl3pPr marL="1201284" indent="-200214">
              <a:spcBef>
                <a:spcPts val="667"/>
              </a:spcBef>
              <a:buFontTx/>
              <a:buBlip>
                <a:blip r:embed="rId6"/>
              </a:buBlip>
              <a:defRPr sz="1200">
                <a:solidFill>
                  <a:schemeClr val="tx1"/>
                </a:solidFill>
              </a:defRPr>
            </a:lvl3pPr>
            <a:lvl4pPr>
              <a:spcBef>
                <a:spcPts val="667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67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0A194CD-87B2-48D6-8512-8705C295B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1830652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21">
            <a:extLst>
              <a:ext uri="{FF2B5EF4-FFF2-40B4-BE49-F238E27FC236}">
                <a16:creationId xmlns:a16="http://schemas.microsoft.com/office/drawing/2014/main" id="{BCB5A6FE-F83F-481B-A44E-0015489295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8302" y="2887732"/>
            <a:ext cx="3585579" cy="1991308"/>
          </a:xfrm>
          <a:custGeom>
            <a:avLst/>
            <a:gdLst>
              <a:gd name="connsiteX0" fmla="*/ 0 w 3223495"/>
              <a:gd name="connsiteY0" fmla="*/ 0 h 1790188"/>
              <a:gd name="connsiteX1" fmla="*/ 3223495 w 3223495"/>
              <a:gd name="connsiteY1" fmla="*/ 0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  <a:gd name="connsiteX0" fmla="*/ 0 w 3223495"/>
              <a:gd name="connsiteY0" fmla="*/ 0 h 1790188"/>
              <a:gd name="connsiteX1" fmla="*/ 2371940 w 3223495"/>
              <a:gd name="connsiteY1" fmla="*/ 3142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3495" h="1790188">
                <a:moveTo>
                  <a:pt x="0" y="0"/>
                </a:moveTo>
                <a:lnTo>
                  <a:pt x="2371940" y="3142"/>
                </a:lnTo>
                <a:lnTo>
                  <a:pt x="3223495" y="1790188"/>
                </a:lnTo>
                <a:lnTo>
                  <a:pt x="0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Bildplatzhalter 21">
            <a:extLst>
              <a:ext uri="{FF2B5EF4-FFF2-40B4-BE49-F238E27FC236}">
                <a16:creationId xmlns:a16="http://schemas.microsoft.com/office/drawing/2014/main" id="{B1BB259A-7D20-4F2B-8A88-6221557211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27286" y="847607"/>
            <a:ext cx="5143827" cy="1986009"/>
          </a:xfrm>
          <a:custGeom>
            <a:avLst/>
            <a:gdLst>
              <a:gd name="connsiteX0" fmla="*/ 0 w 4624386"/>
              <a:gd name="connsiteY0" fmla="*/ 0 h 1785424"/>
              <a:gd name="connsiteX1" fmla="*/ 4624386 w 4624386"/>
              <a:gd name="connsiteY1" fmla="*/ 0 h 1785424"/>
              <a:gd name="connsiteX2" fmla="*/ 4624386 w 4624386"/>
              <a:gd name="connsiteY2" fmla="*/ 1785424 h 1785424"/>
              <a:gd name="connsiteX3" fmla="*/ 0 w 4624386"/>
              <a:gd name="connsiteY3" fmla="*/ 1785424 h 1785424"/>
              <a:gd name="connsiteX4" fmla="*/ 0 w 4624386"/>
              <a:gd name="connsiteY4" fmla="*/ 0 h 1785424"/>
              <a:gd name="connsiteX0" fmla="*/ 0 w 4624386"/>
              <a:gd name="connsiteY0" fmla="*/ 0 h 1785424"/>
              <a:gd name="connsiteX1" fmla="*/ 4624386 w 4624386"/>
              <a:gd name="connsiteY1" fmla="*/ 0 h 1785424"/>
              <a:gd name="connsiteX2" fmla="*/ 4624386 w 4624386"/>
              <a:gd name="connsiteY2" fmla="*/ 1785424 h 1785424"/>
              <a:gd name="connsiteX3" fmla="*/ 854869 w 4624386"/>
              <a:gd name="connsiteY3" fmla="*/ 1785424 h 1785424"/>
              <a:gd name="connsiteX4" fmla="*/ 0 w 4624386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4386" h="1785424">
                <a:moveTo>
                  <a:pt x="0" y="0"/>
                </a:moveTo>
                <a:lnTo>
                  <a:pt x="4624386" y="0"/>
                </a:lnTo>
                <a:lnTo>
                  <a:pt x="4624386" y="1785424"/>
                </a:lnTo>
                <a:lnTo>
                  <a:pt x="854869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Bildplatzhalter 21">
            <a:extLst>
              <a:ext uri="{FF2B5EF4-FFF2-40B4-BE49-F238E27FC236}">
                <a16:creationId xmlns:a16="http://schemas.microsoft.com/office/drawing/2014/main" id="{D1D97D89-3380-41C0-A5E9-03F9AD14915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8301" y="847607"/>
            <a:ext cx="5148957" cy="1986009"/>
          </a:xfrm>
          <a:custGeom>
            <a:avLst/>
            <a:gdLst>
              <a:gd name="connsiteX0" fmla="*/ 0 w 4628998"/>
              <a:gd name="connsiteY0" fmla="*/ 0 h 1785424"/>
              <a:gd name="connsiteX1" fmla="*/ 4628998 w 4628998"/>
              <a:gd name="connsiteY1" fmla="*/ 0 h 1785424"/>
              <a:gd name="connsiteX2" fmla="*/ 4628998 w 4628998"/>
              <a:gd name="connsiteY2" fmla="*/ 1785424 h 1785424"/>
              <a:gd name="connsiteX3" fmla="*/ 0 w 4628998"/>
              <a:gd name="connsiteY3" fmla="*/ 1785424 h 1785424"/>
              <a:gd name="connsiteX4" fmla="*/ 0 w 4628998"/>
              <a:gd name="connsiteY4" fmla="*/ 0 h 1785424"/>
              <a:gd name="connsiteX0" fmla="*/ 0 w 4628998"/>
              <a:gd name="connsiteY0" fmla="*/ 0 h 1785424"/>
              <a:gd name="connsiteX1" fmla="*/ 3781273 w 4628998"/>
              <a:gd name="connsiteY1" fmla="*/ 0 h 1785424"/>
              <a:gd name="connsiteX2" fmla="*/ 4628998 w 4628998"/>
              <a:gd name="connsiteY2" fmla="*/ 1785424 h 1785424"/>
              <a:gd name="connsiteX3" fmla="*/ 0 w 4628998"/>
              <a:gd name="connsiteY3" fmla="*/ 1785424 h 1785424"/>
              <a:gd name="connsiteX4" fmla="*/ 0 w 4628998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8998" h="1785424">
                <a:moveTo>
                  <a:pt x="0" y="0"/>
                </a:moveTo>
                <a:lnTo>
                  <a:pt x="3781273" y="0"/>
                </a:lnTo>
                <a:lnTo>
                  <a:pt x="4628998" y="1785424"/>
                </a:lnTo>
                <a:lnTo>
                  <a:pt x="0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Bildplatzhalter 21">
            <a:extLst>
              <a:ext uri="{FF2B5EF4-FFF2-40B4-BE49-F238E27FC236}">
                <a16:creationId xmlns:a16="http://schemas.microsoft.com/office/drawing/2014/main" id="{2B135A71-655E-43AC-8825-9C0FB6E91C7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70054" y="2887732"/>
            <a:ext cx="4017150" cy="1991308"/>
          </a:xfrm>
          <a:custGeom>
            <a:avLst/>
            <a:gdLst>
              <a:gd name="connsiteX0" fmla="*/ 0 w 3223495"/>
              <a:gd name="connsiteY0" fmla="*/ 0 h 1790188"/>
              <a:gd name="connsiteX1" fmla="*/ 3223495 w 3223495"/>
              <a:gd name="connsiteY1" fmla="*/ 0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  <a:gd name="connsiteX0" fmla="*/ 0 w 4068838"/>
              <a:gd name="connsiteY0" fmla="*/ 2381 h 1790188"/>
              <a:gd name="connsiteX1" fmla="*/ 4068838 w 4068838"/>
              <a:gd name="connsiteY1" fmla="*/ 0 h 1790188"/>
              <a:gd name="connsiteX2" fmla="*/ 4068838 w 4068838"/>
              <a:gd name="connsiteY2" fmla="*/ 1790188 h 1790188"/>
              <a:gd name="connsiteX3" fmla="*/ 845343 w 4068838"/>
              <a:gd name="connsiteY3" fmla="*/ 1790188 h 1790188"/>
              <a:gd name="connsiteX4" fmla="*/ 0 w 4068838"/>
              <a:gd name="connsiteY4" fmla="*/ 2381 h 1790188"/>
              <a:gd name="connsiteX0" fmla="*/ 0 w 4071220"/>
              <a:gd name="connsiteY0" fmla="*/ 2381 h 1790188"/>
              <a:gd name="connsiteX1" fmla="*/ 4071220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2381 h 1790188"/>
              <a:gd name="connsiteX0" fmla="*/ 0 w 4071220"/>
              <a:gd name="connsiteY0" fmla="*/ 0 h 1790188"/>
              <a:gd name="connsiteX1" fmla="*/ 4071220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0 h 1790188"/>
              <a:gd name="connsiteX0" fmla="*/ 0 w 4071220"/>
              <a:gd name="connsiteY0" fmla="*/ 0 h 1790188"/>
              <a:gd name="connsiteX1" fmla="*/ 2761532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0 h 1790188"/>
              <a:gd name="connsiteX0" fmla="*/ 0 w 3616401"/>
              <a:gd name="connsiteY0" fmla="*/ 0 h 1790188"/>
              <a:gd name="connsiteX1" fmla="*/ 2761532 w 3616401"/>
              <a:gd name="connsiteY1" fmla="*/ 0 h 1790188"/>
              <a:gd name="connsiteX2" fmla="*/ 3616401 w 3616401"/>
              <a:gd name="connsiteY2" fmla="*/ 1790188 h 1790188"/>
              <a:gd name="connsiteX3" fmla="*/ 847725 w 3616401"/>
              <a:gd name="connsiteY3" fmla="*/ 1790188 h 1790188"/>
              <a:gd name="connsiteX4" fmla="*/ 0 w 3616401"/>
              <a:gd name="connsiteY4" fmla="*/ 0 h 1790188"/>
              <a:gd name="connsiteX0" fmla="*/ 0 w 3616401"/>
              <a:gd name="connsiteY0" fmla="*/ 0 h 1790188"/>
              <a:gd name="connsiteX1" fmla="*/ 2754157 w 3616401"/>
              <a:gd name="connsiteY1" fmla="*/ 0 h 1790188"/>
              <a:gd name="connsiteX2" fmla="*/ 3616401 w 3616401"/>
              <a:gd name="connsiteY2" fmla="*/ 1790188 h 1790188"/>
              <a:gd name="connsiteX3" fmla="*/ 847725 w 3616401"/>
              <a:gd name="connsiteY3" fmla="*/ 1790188 h 1790188"/>
              <a:gd name="connsiteX4" fmla="*/ 0 w 3616401"/>
              <a:gd name="connsiteY4" fmla="*/ 0 h 1790188"/>
              <a:gd name="connsiteX0" fmla="*/ 0 w 3611485"/>
              <a:gd name="connsiteY0" fmla="*/ 0 h 1790188"/>
              <a:gd name="connsiteX1" fmla="*/ 2754157 w 3611485"/>
              <a:gd name="connsiteY1" fmla="*/ 0 h 1790188"/>
              <a:gd name="connsiteX2" fmla="*/ 3611485 w 3611485"/>
              <a:gd name="connsiteY2" fmla="*/ 1790188 h 1790188"/>
              <a:gd name="connsiteX3" fmla="*/ 847725 w 3611485"/>
              <a:gd name="connsiteY3" fmla="*/ 1790188 h 1790188"/>
              <a:gd name="connsiteX4" fmla="*/ 0 w 3611485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1485" h="1790188">
                <a:moveTo>
                  <a:pt x="0" y="0"/>
                </a:moveTo>
                <a:lnTo>
                  <a:pt x="2754157" y="0"/>
                </a:lnTo>
                <a:lnTo>
                  <a:pt x="3611485" y="1790188"/>
                </a:lnTo>
                <a:lnTo>
                  <a:pt x="847725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7" name="Bildplatzhalter 21">
            <a:extLst>
              <a:ext uri="{FF2B5EF4-FFF2-40B4-BE49-F238E27FC236}">
                <a16:creationId xmlns:a16="http://schemas.microsoft.com/office/drawing/2014/main" id="{DCFB798B-032F-40A6-AE3A-243C82FD9EC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92683" y="2887732"/>
            <a:ext cx="3578431" cy="1991308"/>
          </a:xfrm>
          <a:custGeom>
            <a:avLst/>
            <a:gdLst>
              <a:gd name="connsiteX0" fmla="*/ 0 w 3217069"/>
              <a:gd name="connsiteY0" fmla="*/ 0 h 1790188"/>
              <a:gd name="connsiteX1" fmla="*/ 3217069 w 3217069"/>
              <a:gd name="connsiteY1" fmla="*/ 0 h 1790188"/>
              <a:gd name="connsiteX2" fmla="*/ 3217069 w 3217069"/>
              <a:gd name="connsiteY2" fmla="*/ 1790188 h 1790188"/>
              <a:gd name="connsiteX3" fmla="*/ 0 w 3217069"/>
              <a:gd name="connsiteY3" fmla="*/ 1790188 h 1790188"/>
              <a:gd name="connsiteX4" fmla="*/ 0 w 3217069"/>
              <a:gd name="connsiteY4" fmla="*/ 0 h 1790188"/>
              <a:gd name="connsiteX0" fmla="*/ 0 w 3217069"/>
              <a:gd name="connsiteY0" fmla="*/ 0 h 1790188"/>
              <a:gd name="connsiteX1" fmla="*/ 3217069 w 3217069"/>
              <a:gd name="connsiteY1" fmla="*/ 0 h 1790188"/>
              <a:gd name="connsiteX2" fmla="*/ 3217069 w 3217069"/>
              <a:gd name="connsiteY2" fmla="*/ 1790188 h 1790188"/>
              <a:gd name="connsiteX3" fmla="*/ 852488 w 3217069"/>
              <a:gd name="connsiteY3" fmla="*/ 1790188 h 1790188"/>
              <a:gd name="connsiteX4" fmla="*/ 0 w 3217069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7069" h="1790188">
                <a:moveTo>
                  <a:pt x="0" y="0"/>
                </a:moveTo>
                <a:lnTo>
                  <a:pt x="3217069" y="0"/>
                </a:lnTo>
                <a:lnTo>
                  <a:pt x="3217069" y="1790188"/>
                </a:lnTo>
                <a:lnTo>
                  <a:pt x="852488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3D3AFB44-2835-4DFF-8494-E551BDA84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45594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leere Folie (ohne Überschrift &amp; Contentberei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winkliges Dreieck 1">
            <a:extLst>
              <a:ext uri="{FF2B5EF4-FFF2-40B4-BE49-F238E27FC236}">
                <a16:creationId xmlns:a16="http://schemas.microsoft.com/office/drawing/2014/main" id="{6A8FDD1B-3C1E-4FF2-8C55-FD9C0BD96512}"/>
              </a:ext>
            </a:extLst>
          </p:cNvPr>
          <p:cNvSpPr/>
          <p:nvPr userDrawn="1"/>
        </p:nvSpPr>
        <p:spPr>
          <a:xfrm>
            <a:off x="1" y="0"/>
            <a:ext cx="4598191" cy="5721350"/>
          </a:xfrm>
          <a:custGeom>
            <a:avLst/>
            <a:gdLst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2717800 w 2717800"/>
              <a:gd name="connsiteY2" fmla="*/ 4386262 h 4386262"/>
              <a:gd name="connsiteX3" fmla="*/ 0 w 2717800"/>
              <a:gd name="connsiteY3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416966 w 2717800"/>
              <a:gd name="connsiteY2" fmla="*/ 676541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687629 w 2717800"/>
              <a:gd name="connsiteY2" fmla="*/ 3543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687629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1565453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602" h="4386262">
                <a:moveTo>
                  <a:pt x="0" y="4386262"/>
                </a:moveTo>
                <a:lnTo>
                  <a:pt x="0" y="0"/>
                </a:lnTo>
                <a:lnTo>
                  <a:pt x="1565453" y="3543"/>
                </a:lnTo>
                <a:lnTo>
                  <a:pt x="3873602" y="4386262"/>
                </a:lnTo>
                <a:lnTo>
                  <a:pt x="0" y="43862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 eaLnBrk="1"/>
            <a:endParaRPr lang="de-DE" sz="2002" dirty="0">
              <a:latin typeface="+mj-lt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271C1616-0B5C-4DF7-8B2F-962511F31CE0}"/>
              </a:ext>
            </a:extLst>
          </p:cNvPr>
          <p:cNvSpPr/>
          <p:nvPr userDrawn="1"/>
        </p:nvSpPr>
        <p:spPr>
          <a:xfrm>
            <a:off x="-1432" y="5024243"/>
            <a:ext cx="717356" cy="417896"/>
          </a:xfrm>
          <a:custGeom>
            <a:avLst/>
            <a:gdLst>
              <a:gd name="connsiteX0" fmla="*/ 0 w 407233"/>
              <a:gd name="connsiteY0" fmla="*/ 0 h 374401"/>
              <a:gd name="connsiteX1" fmla="*/ 407233 w 407233"/>
              <a:gd name="connsiteY1" fmla="*/ 0 h 374401"/>
              <a:gd name="connsiteX2" fmla="*/ 407233 w 407233"/>
              <a:gd name="connsiteY2" fmla="*/ 374401 h 374401"/>
              <a:gd name="connsiteX3" fmla="*/ 0 w 407233"/>
              <a:gd name="connsiteY3" fmla="*/ 374401 h 374401"/>
              <a:gd name="connsiteX4" fmla="*/ 0 w 407233"/>
              <a:gd name="connsiteY4" fmla="*/ 0 h 374401"/>
              <a:gd name="connsiteX0" fmla="*/ 0 w 592112"/>
              <a:gd name="connsiteY0" fmla="*/ 0 h 374401"/>
              <a:gd name="connsiteX1" fmla="*/ 592112 w 592112"/>
              <a:gd name="connsiteY1" fmla="*/ 2499 h 374401"/>
              <a:gd name="connsiteX2" fmla="*/ 407233 w 592112"/>
              <a:gd name="connsiteY2" fmla="*/ 374401 h 374401"/>
              <a:gd name="connsiteX3" fmla="*/ 0 w 592112"/>
              <a:gd name="connsiteY3" fmla="*/ 374401 h 374401"/>
              <a:gd name="connsiteX4" fmla="*/ 0 w 592112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07233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53597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465841"/>
              <a:gd name="connsiteX1" fmla="*/ 643627 w 643627"/>
              <a:gd name="connsiteY1" fmla="*/ 2499 h 465841"/>
              <a:gd name="connsiteX2" fmla="*/ 453597 w 643627"/>
              <a:gd name="connsiteY2" fmla="*/ 374401 h 465841"/>
              <a:gd name="connsiteX3" fmla="*/ 91440 w 643627"/>
              <a:gd name="connsiteY3" fmla="*/ 465841 h 465841"/>
              <a:gd name="connsiteX0" fmla="*/ 1288 w 644915"/>
              <a:gd name="connsiteY0" fmla="*/ 0 h 375689"/>
              <a:gd name="connsiteX1" fmla="*/ 644915 w 644915"/>
              <a:gd name="connsiteY1" fmla="*/ 2499 h 375689"/>
              <a:gd name="connsiteX2" fmla="*/ 454885 w 644915"/>
              <a:gd name="connsiteY2" fmla="*/ 374401 h 375689"/>
              <a:gd name="connsiteX3" fmla="*/ 0 w 644915"/>
              <a:gd name="connsiteY3" fmla="*/ 375689 h 375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915" h="375689">
                <a:moveTo>
                  <a:pt x="1288" y="0"/>
                </a:moveTo>
                <a:lnTo>
                  <a:pt x="644915" y="2499"/>
                </a:lnTo>
                <a:lnTo>
                  <a:pt x="454885" y="374401"/>
                </a:lnTo>
                <a:lnTo>
                  <a:pt x="0" y="375689"/>
                </a:lnTo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>
              <a:latin typeface="+mj-lt"/>
            </a:endParaRPr>
          </a:p>
        </p:txBody>
      </p:sp>
      <p:sp>
        <p:nvSpPr>
          <p:cNvPr id="6" name="textBoxPageXFromY">
            <a:extLst>
              <a:ext uri="{FF2B5EF4-FFF2-40B4-BE49-F238E27FC236}">
                <a16:creationId xmlns:a16="http://schemas.microsoft.com/office/drawing/2014/main" id="{4CACF3C0-820D-4E32-A662-70C751300069}"/>
              </a:ext>
            </a:extLst>
          </p:cNvPr>
          <p:cNvSpPr txBox="1">
            <a:spLocks/>
          </p:cNvSpPr>
          <p:nvPr userDrawn="1"/>
        </p:nvSpPr>
        <p:spPr>
          <a:xfrm>
            <a:off x="-1431" y="5092320"/>
            <a:ext cx="594080" cy="30549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9A2F21-4C61-4C7B-ACD9-58995BD3F758}" type="slidenum">
              <a:rPr lang="de-DE" sz="900" smtClean="0"/>
              <a:t>‹#›</a:t>
            </a:fld>
            <a:endParaRPr lang="de-DE" sz="900" dirty="0"/>
          </a:p>
        </p:txBody>
      </p:sp>
      <p:grpSp>
        <p:nvGrpSpPr>
          <p:cNvPr id="8" name="picPorsche">
            <a:extLst>
              <a:ext uri="{FF2B5EF4-FFF2-40B4-BE49-F238E27FC236}">
                <a16:creationId xmlns:a16="http://schemas.microsoft.com/office/drawing/2014/main" id="{79E2F1D2-F9BF-476D-951E-6BFD8B0C413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893024" y="5192400"/>
            <a:ext cx="2002188" cy="150797"/>
            <a:chOff x="3848100" y="2519363"/>
            <a:chExt cx="1452563" cy="109538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9A1C94E-D7CE-4614-BD4D-2F959E632D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813" y="2519363"/>
              <a:ext cx="196850" cy="109538"/>
            </a:xfrm>
            <a:custGeom>
              <a:avLst/>
              <a:gdLst>
                <a:gd name="T0" fmla="*/ 124 w 124"/>
                <a:gd name="T1" fmla="*/ 12 h 69"/>
                <a:gd name="T2" fmla="*/ 124 w 124"/>
                <a:gd name="T3" fmla="*/ 0 h 69"/>
                <a:gd name="T4" fmla="*/ 0 w 124"/>
                <a:gd name="T5" fmla="*/ 0 h 69"/>
                <a:gd name="T6" fmla="*/ 0 w 124"/>
                <a:gd name="T7" fmla="*/ 69 h 69"/>
                <a:gd name="T8" fmla="*/ 124 w 124"/>
                <a:gd name="T9" fmla="*/ 69 h 69"/>
                <a:gd name="T10" fmla="*/ 124 w 124"/>
                <a:gd name="T11" fmla="*/ 57 h 69"/>
                <a:gd name="T12" fmla="*/ 13 w 124"/>
                <a:gd name="T13" fmla="*/ 57 h 69"/>
                <a:gd name="T14" fmla="*/ 13 w 124"/>
                <a:gd name="T15" fmla="*/ 39 h 69"/>
                <a:gd name="T16" fmla="*/ 124 w 124"/>
                <a:gd name="T17" fmla="*/ 39 h 69"/>
                <a:gd name="T18" fmla="*/ 124 w 124"/>
                <a:gd name="T19" fmla="*/ 27 h 69"/>
                <a:gd name="T20" fmla="*/ 13 w 124"/>
                <a:gd name="T21" fmla="*/ 27 h 69"/>
                <a:gd name="T22" fmla="*/ 13 w 124"/>
                <a:gd name="T23" fmla="*/ 12 h 69"/>
                <a:gd name="T24" fmla="*/ 124 w 124"/>
                <a:gd name="T25" fmla="*/ 1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69">
                  <a:moveTo>
                    <a:pt x="124" y="12"/>
                  </a:moveTo>
                  <a:lnTo>
                    <a:pt x="124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24" y="69"/>
                  </a:lnTo>
                  <a:lnTo>
                    <a:pt x="124" y="57"/>
                  </a:lnTo>
                  <a:lnTo>
                    <a:pt x="13" y="57"/>
                  </a:lnTo>
                  <a:lnTo>
                    <a:pt x="13" y="39"/>
                  </a:lnTo>
                  <a:lnTo>
                    <a:pt x="124" y="39"/>
                  </a:lnTo>
                  <a:lnTo>
                    <a:pt x="124" y="27"/>
                  </a:lnTo>
                  <a:lnTo>
                    <a:pt x="13" y="27"/>
                  </a:lnTo>
                  <a:lnTo>
                    <a:pt x="13" y="12"/>
                  </a:lnTo>
                  <a:lnTo>
                    <a:pt x="124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34DD7EF-69B2-4431-9FA9-B389E38B21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3788" y="2519363"/>
              <a:ext cx="174625" cy="109538"/>
            </a:xfrm>
            <a:custGeom>
              <a:avLst/>
              <a:gdLst>
                <a:gd name="T0" fmla="*/ 96 w 110"/>
                <a:gd name="T1" fmla="*/ 27 h 69"/>
                <a:gd name="T2" fmla="*/ 13 w 110"/>
                <a:gd name="T3" fmla="*/ 27 h 69"/>
                <a:gd name="T4" fmla="*/ 13 w 110"/>
                <a:gd name="T5" fmla="*/ 0 h 69"/>
                <a:gd name="T6" fmla="*/ 0 w 110"/>
                <a:gd name="T7" fmla="*/ 0 h 69"/>
                <a:gd name="T8" fmla="*/ 0 w 110"/>
                <a:gd name="T9" fmla="*/ 69 h 69"/>
                <a:gd name="T10" fmla="*/ 13 w 110"/>
                <a:gd name="T11" fmla="*/ 69 h 69"/>
                <a:gd name="T12" fmla="*/ 13 w 110"/>
                <a:gd name="T13" fmla="*/ 42 h 69"/>
                <a:gd name="T14" fmla="*/ 96 w 110"/>
                <a:gd name="T15" fmla="*/ 42 h 69"/>
                <a:gd name="T16" fmla="*/ 96 w 110"/>
                <a:gd name="T17" fmla="*/ 69 h 69"/>
                <a:gd name="T18" fmla="*/ 110 w 110"/>
                <a:gd name="T19" fmla="*/ 69 h 69"/>
                <a:gd name="T20" fmla="*/ 110 w 110"/>
                <a:gd name="T21" fmla="*/ 42 h 69"/>
                <a:gd name="T22" fmla="*/ 110 w 110"/>
                <a:gd name="T23" fmla="*/ 27 h 69"/>
                <a:gd name="T24" fmla="*/ 110 w 110"/>
                <a:gd name="T25" fmla="*/ 0 h 69"/>
                <a:gd name="T26" fmla="*/ 96 w 110"/>
                <a:gd name="T27" fmla="*/ 0 h 69"/>
                <a:gd name="T28" fmla="*/ 96 w 110"/>
                <a:gd name="T29" fmla="*/ 2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0" h="69">
                  <a:moveTo>
                    <a:pt x="96" y="27"/>
                  </a:moveTo>
                  <a:lnTo>
                    <a:pt x="13" y="27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3" y="69"/>
                  </a:lnTo>
                  <a:lnTo>
                    <a:pt x="13" y="42"/>
                  </a:lnTo>
                  <a:lnTo>
                    <a:pt x="96" y="42"/>
                  </a:lnTo>
                  <a:lnTo>
                    <a:pt x="96" y="69"/>
                  </a:lnTo>
                  <a:lnTo>
                    <a:pt x="110" y="69"/>
                  </a:lnTo>
                  <a:lnTo>
                    <a:pt x="110" y="42"/>
                  </a:lnTo>
                  <a:lnTo>
                    <a:pt x="110" y="27"/>
                  </a:lnTo>
                  <a:lnTo>
                    <a:pt x="110" y="0"/>
                  </a:lnTo>
                  <a:lnTo>
                    <a:pt x="96" y="0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4D32ADAA-9BC8-4BE9-84A9-4255DEDE0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7413" y="2519363"/>
              <a:ext cx="179388" cy="109538"/>
            </a:xfrm>
            <a:custGeom>
              <a:avLst/>
              <a:gdLst>
                <a:gd name="T0" fmla="*/ 0 w 42"/>
                <a:gd name="T1" fmla="*/ 5 h 23"/>
                <a:gd name="T2" fmla="*/ 0 w 42"/>
                <a:gd name="T3" fmla="*/ 18 h 23"/>
                <a:gd name="T4" fmla="*/ 5 w 42"/>
                <a:gd name="T5" fmla="*/ 23 h 23"/>
                <a:gd name="T6" fmla="*/ 42 w 42"/>
                <a:gd name="T7" fmla="*/ 23 h 23"/>
                <a:gd name="T8" fmla="*/ 42 w 42"/>
                <a:gd name="T9" fmla="*/ 18 h 23"/>
                <a:gd name="T10" fmla="*/ 6 w 42"/>
                <a:gd name="T11" fmla="*/ 18 h 23"/>
                <a:gd name="T12" fmla="*/ 5 w 42"/>
                <a:gd name="T13" fmla="*/ 17 h 23"/>
                <a:gd name="T14" fmla="*/ 5 w 42"/>
                <a:gd name="T15" fmla="*/ 5 h 23"/>
                <a:gd name="T16" fmla="*/ 6 w 42"/>
                <a:gd name="T17" fmla="*/ 5 h 23"/>
                <a:gd name="T18" fmla="*/ 42 w 42"/>
                <a:gd name="T19" fmla="*/ 5 h 23"/>
                <a:gd name="T20" fmla="*/ 42 w 42"/>
                <a:gd name="T21" fmla="*/ 0 h 23"/>
                <a:gd name="T22" fmla="*/ 5 w 42"/>
                <a:gd name="T23" fmla="*/ 0 h 23"/>
                <a:gd name="T24" fmla="*/ 0 w 42"/>
                <a:gd name="T25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3">
                  <a:moveTo>
                    <a:pt x="0" y="5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2" y="23"/>
                    <a:pt x="5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7"/>
                    <a:pt x="5" y="1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3884BBF-B739-40F4-A9E7-B8ED67A89C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4688" y="2519363"/>
              <a:ext cx="187325" cy="109538"/>
            </a:xfrm>
            <a:custGeom>
              <a:avLst/>
              <a:gdLst>
                <a:gd name="T0" fmla="*/ 38 w 44"/>
                <a:gd name="T1" fmla="*/ 9 h 23"/>
                <a:gd name="T2" fmla="*/ 6 w 44"/>
                <a:gd name="T3" fmla="*/ 9 h 23"/>
                <a:gd name="T4" fmla="*/ 6 w 44"/>
                <a:gd name="T5" fmla="*/ 9 h 23"/>
                <a:gd name="T6" fmla="*/ 5 w 44"/>
                <a:gd name="T7" fmla="*/ 8 h 23"/>
                <a:gd name="T8" fmla="*/ 5 w 44"/>
                <a:gd name="T9" fmla="*/ 5 h 23"/>
                <a:gd name="T10" fmla="*/ 6 w 44"/>
                <a:gd name="T11" fmla="*/ 4 h 23"/>
                <a:gd name="T12" fmla="*/ 43 w 44"/>
                <a:gd name="T13" fmla="*/ 4 h 23"/>
                <a:gd name="T14" fmla="*/ 43 w 44"/>
                <a:gd name="T15" fmla="*/ 0 h 23"/>
                <a:gd name="T16" fmla="*/ 5 w 44"/>
                <a:gd name="T17" fmla="*/ 0 h 23"/>
                <a:gd name="T18" fmla="*/ 0 w 44"/>
                <a:gd name="T19" fmla="*/ 5 h 23"/>
                <a:gd name="T20" fmla="*/ 0 w 44"/>
                <a:gd name="T21" fmla="*/ 8 h 23"/>
                <a:gd name="T22" fmla="*/ 5 w 44"/>
                <a:gd name="T23" fmla="*/ 13 h 23"/>
                <a:gd name="T24" fmla="*/ 38 w 44"/>
                <a:gd name="T25" fmla="*/ 13 h 23"/>
                <a:gd name="T26" fmla="*/ 38 w 44"/>
                <a:gd name="T27" fmla="*/ 14 h 23"/>
                <a:gd name="T28" fmla="*/ 38 w 44"/>
                <a:gd name="T29" fmla="*/ 14 h 23"/>
                <a:gd name="T30" fmla="*/ 38 w 44"/>
                <a:gd name="T31" fmla="*/ 18 h 23"/>
                <a:gd name="T32" fmla="*/ 38 w 44"/>
                <a:gd name="T33" fmla="*/ 19 h 23"/>
                <a:gd name="T34" fmla="*/ 0 w 44"/>
                <a:gd name="T35" fmla="*/ 19 h 23"/>
                <a:gd name="T36" fmla="*/ 0 w 44"/>
                <a:gd name="T37" fmla="*/ 23 h 23"/>
                <a:gd name="T38" fmla="*/ 38 w 44"/>
                <a:gd name="T39" fmla="*/ 23 h 23"/>
                <a:gd name="T40" fmla="*/ 44 w 44"/>
                <a:gd name="T41" fmla="*/ 18 h 23"/>
                <a:gd name="T42" fmla="*/ 44 w 44"/>
                <a:gd name="T43" fmla="*/ 18 h 23"/>
                <a:gd name="T44" fmla="*/ 44 w 44"/>
                <a:gd name="T45" fmla="*/ 14 h 23"/>
                <a:gd name="T46" fmla="*/ 44 w 44"/>
                <a:gd name="T47" fmla="*/ 14 h 23"/>
                <a:gd name="T48" fmla="*/ 38 w 44"/>
                <a:gd name="T4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" h="23">
                  <a:moveTo>
                    <a:pt x="38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2" y="13"/>
                    <a:pt x="5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1"/>
                    <a:pt x="41" y="9"/>
                    <a:pt x="38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0B0E8C53-029A-4577-8FF1-00B7A21165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0375" y="2519363"/>
              <a:ext cx="188913" cy="109538"/>
            </a:xfrm>
            <a:custGeom>
              <a:avLst/>
              <a:gdLst>
                <a:gd name="T0" fmla="*/ 39 w 44"/>
                <a:gd name="T1" fmla="*/ 15 h 23"/>
                <a:gd name="T2" fmla="*/ 44 w 44"/>
                <a:gd name="T3" fmla="*/ 10 h 23"/>
                <a:gd name="T4" fmla="*/ 44 w 44"/>
                <a:gd name="T5" fmla="*/ 5 h 23"/>
                <a:gd name="T6" fmla="*/ 39 w 44"/>
                <a:gd name="T7" fmla="*/ 0 h 23"/>
                <a:gd name="T8" fmla="*/ 39 w 44"/>
                <a:gd name="T9" fmla="*/ 0 h 23"/>
                <a:gd name="T10" fmla="*/ 0 w 44"/>
                <a:gd name="T11" fmla="*/ 0 h 23"/>
                <a:gd name="T12" fmla="*/ 0 w 44"/>
                <a:gd name="T13" fmla="*/ 23 h 23"/>
                <a:gd name="T14" fmla="*/ 5 w 44"/>
                <a:gd name="T15" fmla="*/ 23 h 23"/>
                <a:gd name="T16" fmla="*/ 5 w 44"/>
                <a:gd name="T17" fmla="*/ 17 h 23"/>
                <a:gd name="T18" fmla="*/ 33 w 44"/>
                <a:gd name="T19" fmla="*/ 17 h 23"/>
                <a:gd name="T20" fmla="*/ 33 w 44"/>
                <a:gd name="T21" fmla="*/ 17 h 23"/>
                <a:gd name="T22" fmla="*/ 39 w 44"/>
                <a:gd name="T23" fmla="*/ 22 h 23"/>
                <a:gd name="T24" fmla="*/ 39 w 44"/>
                <a:gd name="T25" fmla="*/ 23 h 23"/>
                <a:gd name="T26" fmla="*/ 44 w 44"/>
                <a:gd name="T27" fmla="*/ 23 h 23"/>
                <a:gd name="T28" fmla="*/ 44 w 44"/>
                <a:gd name="T29" fmla="*/ 23 h 23"/>
                <a:gd name="T30" fmla="*/ 39 w 44"/>
                <a:gd name="T31" fmla="*/ 15 h 23"/>
                <a:gd name="T32" fmla="*/ 39 w 44"/>
                <a:gd name="T33" fmla="*/ 11 h 23"/>
                <a:gd name="T34" fmla="*/ 39 w 44"/>
                <a:gd name="T35" fmla="*/ 11 h 23"/>
                <a:gd name="T36" fmla="*/ 38 w 44"/>
                <a:gd name="T37" fmla="*/ 12 h 23"/>
                <a:gd name="T38" fmla="*/ 5 w 44"/>
                <a:gd name="T39" fmla="*/ 12 h 23"/>
                <a:gd name="T40" fmla="*/ 5 w 44"/>
                <a:gd name="T41" fmla="*/ 5 h 23"/>
                <a:gd name="T42" fmla="*/ 38 w 44"/>
                <a:gd name="T43" fmla="*/ 5 h 23"/>
                <a:gd name="T44" fmla="*/ 39 w 44"/>
                <a:gd name="T45" fmla="*/ 6 h 23"/>
                <a:gd name="T46" fmla="*/ 39 w 44"/>
                <a:gd name="T4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23">
                  <a:moveTo>
                    <a:pt x="39" y="15"/>
                  </a:moveTo>
                  <a:cubicBezTo>
                    <a:pt x="42" y="15"/>
                    <a:pt x="44" y="13"/>
                    <a:pt x="44" y="10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6" y="17"/>
                    <a:pt x="39" y="19"/>
                    <a:pt x="39" y="22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9"/>
                    <a:pt x="42" y="16"/>
                    <a:pt x="39" y="15"/>
                  </a:cubicBezTo>
                  <a:close/>
                  <a:moveTo>
                    <a:pt x="39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9" y="5"/>
                    <a:pt x="39" y="6"/>
                  </a:cubicBezTo>
                  <a:lnTo>
                    <a:pt x="39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749339E0-4183-4B34-AACB-45B199E251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57650" y="2519363"/>
              <a:ext cx="187325" cy="109538"/>
            </a:xfrm>
            <a:custGeom>
              <a:avLst/>
              <a:gdLst>
                <a:gd name="T0" fmla="*/ 39 w 44"/>
                <a:gd name="T1" fmla="*/ 0 h 23"/>
                <a:gd name="T2" fmla="*/ 39 w 44"/>
                <a:gd name="T3" fmla="*/ 0 h 23"/>
                <a:gd name="T4" fmla="*/ 6 w 44"/>
                <a:gd name="T5" fmla="*/ 0 h 23"/>
                <a:gd name="T6" fmla="*/ 0 w 44"/>
                <a:gd name="T7" fmla="*/ 5 h 23"/>
                <a:gd name="T8" fmla="*/ 0 w 44"/>
                <a:gd name="T9" fmla="*/ 18 h 23"/>
                <a:gd name="T10" fmla="*/ 6 w 44"/>
                <a:gd name="T11" fmla="*/ 23 h 23"/>
                <a:gd name="T12" fmla="*/ 38 w 44"/>
                <a:gd name="T13" fmla="*/ 23 h 23"/>
                <a:gd name="T14" fmla="*/ 44 w 44"/>
                <a:gd name="T15" fmla="*/ 18 h 23"/>
                <a:gd name="T16" fmla="*/ 44 w 44"/>
                <a:gd name="T17" fmla="*/ 18 h 23"/>
                <a:gd name="T18" fmla="*/ 44 w 44"/>
                <a:gd name="T19" fmla="*/ 18 h 23"/>
                <a:gd name="T20" fmla="*/ 44 w 44"/>
                <a:gd name="T21" fmla="*/ 5 h 23"/>
                <a:gd name="T22" fmla="*/ 39 w 44"/>
                <a:gd name="T23" fmla="*/ 0 h 23"/>
                <a:gd name="T24" fmla="*/ 38 w 44"/>
                <a:gd name="T25" fmla="*/ 17 h 23"/>
                <a:gd name="T26" fmla="*/ 38 w 44"/>
                <a:gd name="T27" fmla="*/ 18 h 23"/>
                <a:gd name="T28" fmla="*/ 6 w 44"/>
                <a:gd name="T29" fmla="*/ 18 h 23"/>
                <a:gd name="T30" fmla="*/ 6 w 44"/>
                <a:gd name="T31" fmla="*/ 17 h 23"/>
                <a:gd name="T32" fmla="*/ 6 w 44"/>
                <a:gd name="T33" fmla="*/ 5 h 23"/>
                <a:gd name="T34" fmla="*/ 6 w 44"/>
                <a:gd name="T35" fmla="*/ 5 h 23"/>
                <a:gd name="T36" fmla="*/ 38 w 44"/>
                <a:gd name="T37" fmla="*/ 5 h 23"/>
                <a:gd name="T38" fmla="*/ 38 w 44"/>
                <a:gd name="T39" fmla="*/ 6 h 23"/>
                <a:gd name="T40" fmla="*/ 38 w 44"/>
                <a:gd name="T41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23"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3" y="23"/>
                    <a:pt x="6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lose/>
                  <a:moveTo>
                    <a:pt x="38" y="17"/>
                  </a:moveTo>
                  <a:cubicBezTo>
                    <a:pt x="38" y="17"/>
                    <a:pt x="38" y="18"/>
                    <a:pt x="3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7"/>
                    <a:pt x="6" y="17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7468867D-228E-4BD7-8C59-E901832611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48100" y="2519363"/>
              <a:ext cx="184150" cy="109538"/>
            </a:xfrm>
            <a:custGeom>
              <a:avLst/>
              <a:gdLst>
                <a:gd name="T0" fmla="*/ 38 w 43"/>
                <a:gd name="T1" fmla="*/ 0 h 23"/>
                <a:gd name="T2" fmla="*/ 38 w 43"/>
                <a:gd name="T3" fmla="*/ 0 h 23"/>
                <a:gd name="T4" fmla="*/ 0 w 43"/>
                <a:gd name="T5" fmla="*/ 0 h 23"/>
                <a:gd name="T6" fmla="*/ 0 w 43"/>
                <a:gd name="T7" fmla="*/ 23 h 23"/>
                <a:gd name="T8" fmla="*/ 5 w 43"/>
                <a:gd name="T9" fmla="*/ 23 h 23"/>
                <a:gd name="T10" fmla="*/ 5 w 43"/>
                <a:gd name="T11" fmla="*/ 17 h 23"/>
                <a:gd name="T12" fmla="*/ 38 w 43"/>
                <a:gd name="T13" fmla="*/ 17 h 23"/>
                <a:gd name="T14" fmla="*/ 43 w 43"/>
                <a:gd name="T15" fmla="*/ 12 h 23"/>
                <a:gd name="T16" fmla="*/ 43 w 43"/>
                <a:gd name="T17" fmla="*/ 5 h 23"/>
                <a:gd name="T18" fmla="*/ 38 w 43"/>
                <a:gd name="T19" fmla="*/ 0 h 23"/>
                <a:gd name="T20" fmla="*/ 38 w 43"/>
                <a:gd name="T21" fmla="*/ 11 h 23"/>
                <a:gd name="T22" fmla="*/ 38 w 43"/>
                <a:gd name="T23" fmla="*/ 12 h 23"/>
                <a:gd name="T24" fmla="*/ 5 w 43"/>
                <a:gd name="T25" fmla="*/ 12 h 23"/>
                <a:gd name="T26" fmla="*/ 5 w 43"/>
                <a:gd name="T27" fmla="*/ 5 h 23"/>
                <a:gd name="T28" fmla="*/ 37 w 43"/>
                <a:gd name="T29" fmla="*/ 5 h 23"/>
                <a:gd name="T30" fmla="*/ 38 w 43"/>
                <a:gd name="T31" fmla="*/ 6 h 23"/>
                <a:gd name="T32" fmla="*/ 38 w 43"/>
                <a:gd name="T3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23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41" y="17"/>
                    <a:pt x="43" y="14"/>
                    <a:pt x="43" y="12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2"/>
                    <a:pt x="41" y="0"/>
                    <a:pt x="38" y="0"/>
                  </a:cubicBezTo>
                  <a:close/>
                  <a:moveTo>
                    <a:pt x="38" y="11"/>
                  </a:moveTo>
                  <a:cubicBezTo>
                    <a:pt x="38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</p:grpSp>
      <p:sp>
        <p:nvSpPr>
          <p:cNvPr id="16" name="textBoxChangeDate">
            <a:extLst>
              <a:ext uri="{FF2B5EF4-FFF2-40B4-BE49-F238E27FC236}">
                <a16:creationId xmlns:a16="http://schemas.microsoft.com/office/drawing/2014/main" id="{7AA358CF-47E2-4350-8A87-10C0F90A3942}"/>
              </a:ext>
            </a:extLst>
          </p:cNvPr>
          <p:cNvSpPr txBox="1">
            <a:spLocks/>
          </p:cNvSpPr>
          <p:nvPr userDrawn="1"/>
        </p:nvSpPr>
        <p:spPr>
          <a:xfrm>
            <a:off x="1033463" y="5110052"/>
            <a:ext cx="14042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900" b="0" dirty="0"/>
              <a:t>Änderungsdatum: 18.07.2018</a:t>
            </a:r>
          </a:p>
        </p:txBody>
      </p:sp>
      <p:sp>
        <p:nvSpPr>
          <p:cNvPr id="17" name="textBoxCreationDate">
            <a:extLst>
              <a:ext uri="{FF2B5EF4-FFF2-40B4-BE49-F238E27FC236}">
                <a16:creationId xmlns:a16="http://schemas.microsoft.com/office/drawing/2014/main" id="{61A5BF2B-5F4A-4028-B56C-44054A65547F}"/>
              </a:ext>
            </a:extLst>
          </p:cNvPr>
          <p:cNvSpPr txBox="1">
            <a:spLocks/>
          </p:cNvSpPr>
          <p:nvPr userDrawn="1"/>
        </p:nvSpPr>
        <p:spPr>
          <a:xfrm>
            <a:off x="1033463" y="5260951"/>
            <a:ext cx="142026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900" b="0" dirty="0"/>
              <a:t>Erstellungsdatum: 14.08.2018</a:t>
            </a:r>
          </a:p>
        </p:txBody>
      </p:sp>
      <p:sp>
        <p:nvSpPr>
          <p:cNvPr id="18" name="textBoxUserName">
            <a:extLst>
              <a:ext uri="{FF2B5EF4-FFF2-40B4-BE49-F238E27FC236}">
                <a16:creationId xmlns:a16="http://schemas.microsoft.com/office/drawing/2014/main" id="{3F063445-F6C1-42E3-A8F8-50AC90D511B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77800" y="5534399"/>
            <a:ext cx="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700" dirty="0"/>
          </a:p>
        </p:txBody>
      </p:sp>
      <p:sp>
        <p:nvSpPr>
          <p:cNvPr id="19" name="textBoxDepartment">
            <a:extLst>
              <a:ext uri="{FF2B5EF4-FFF2-40B4-BE49-F238E27FC236}">
                <a16:creationId xmlns:a16="http://schemas.microsoft.com/office/drawing/2014/main" id="{2214E889-2DC2-4239-9C1F-EB7352E83669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54065" y="5534399"/>
            <a:ext cx="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700" dirty="0"/>
          </a:p>
        </p:txBody>
      </p:sp>
    </p:spTree>
    <p:extLst>
      <p:ext uri="{BB962C8B-B14F-4D97-AF65-F5344CB8AC3E}">
        <p14:creationId xmlns:p14="http://schemas.microsoft.com/office/powerpoint/2010/main" val="3453354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 (HL 1-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9210DFC-0BD9-4A14-BA0A-2FF7D6A1E1D3}"/>
              </a:ext>
            </a:extLst>
          </p:cNvPr>
          <p:cNvSpPr/>
          <p:nvPr userDrawn="1"/>
        </p:nvSpPr>
        <p:spPr>
          <a:xfrm>
            <a:off x="0" y="4878388"/>
            <a:ext cx="947772" cy="84296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" name="Bildplatzhalter 12">
            <a:extLst>
              <a:ext uri="{FF2B5EF4-FFF2-40B4-BE49-F238E27FC236}">
                <a16:creationId xmlns:a16="http://schemas.microsoft.com/office/drawing/2014/main" id="{12460F4B-E8C5-4630-A020-1AA387B00D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0171113" cy="4879041"/>
          </a:xfrm>
          <a:prstGeom prst="rect">
            <a:avLst/>
          </a:prstGeom>
          <a:solidFill>
            <a:schemeClr val="tx1"/>
          </a:solidFill>
        </p:spPr>
        <p:txBody>
          <a:bodyPr anchor="ctr" anchorCtr="0"/>
          <a:lstStyle>
            <a:lvl1pPr marL="0" indent="0" algn="ctr">
              <a:buNone/>
              <a:defRPr sz="1335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917F288-BD42-4F9B-954C-BBC375689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5545" y="1728702"/>
            <a:ext cx="1694194" cy="3081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2">
                <a:solidFill>
                  <a:schemeClr val="bg1"/>
                </a:solidFill>
              </a:defRPr>
            </a:lvl1pPr>
            <a:lvl2pPr>
              <a:defRPr sz="2002">
                <a:solidFill>
                  <a:schemeClr val="bg1"/>
                </a:solidFill>
              </a:defRPr>
            </a:lvl2pPr>
            <a:lvl3pPr>
              <a:defRPr sz="2002">
                <a:solidFill>
                  <a:schemeClr val="bg1"/>
                </a:solidFill>
              </a:defRPr>
            </a:lvl3pPr>
            <a:lvl4pPr>
              <a:defRPr sz="2002">
                <a:solidFill>
                  <a:schemeClr val="bg1"/>
                </a:solidFill>
              </a:defRPr>
            </a:lvl4pPr>
            <a:lvl5pPr>
              <a:defRPr sz="2002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CAE81D3-3AB6-4684-B63D-CCAEFCCBCD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544" y="774434"/>
            <a:ext cx="6784339" cy="94147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zeilige Überschrift</a:t>
            </a:r>
          </a:p>
        </p:txBody>
      </p:sp>
    </p:spTree>
    <p:extLst>
      <p:ext uri="{BB962C8B-B14F-4D97-AF65-F5344CB8AC3E}">
        <p14:creationId xmlns:p14="http://schemas.microsoft.com/office/powerpoint/2010/main" val="36076172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 (HL 1-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917F288-BD42-4F9B-954C-BBC375689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00694" y="1728702"/>
            <a:ext cx="1694194" cy="3081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r">
              <a:buNone/>
              <a:defRPr sz="2002">
                <a:solidFill>
                  <a:schemeClr val="tx1"/>
                </a:solidFill>
              </a:defRPr>
            </a:lvl1pPr>
            <a:lvl2pPr>
              <a:defRPr sz="2002">
                <a:solidFill>
                  <a:schemeClr val="bg1"/>
                </a:solidFill>
              </a:defRPr>
            </a:lvl2pPr>
            <a:lvl3pPr>
              <a:defRPr sz="2002">
                <a:solidFill>
                  <a:schemeClr val="bg1"/>
                </a:solidFill>
              </a:defRPr>
            </a:lvl3pPr>
            <a:lvl4pPr>
              <a:defRPr sz="2002">
                <a:solidFill>
                  <a:schemeClr val="bg1"/>
                </a:solidFill>
              </a:defRPr>
            </a:lvl4pPr>
            <a:lvl5pPr>
              <a:defRPr sz="2002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CAE81D3-3AB6-4684-B63D-CCAEFCCBCD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0548" y="774434"/>
            <a:ext cx="6784340" cy="94147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Einzeilige Überschrif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9D9D174-3F23-4CB1-A939-0A39EEBF6BF0}"/>
              </a:ext>
            </a:extLst>
          </p:cNvPr>
          <p:cNvSpPr/>
          <p:nvPr userDrawn="1"/>
        </p:nvSpPr>
        <p:spPr>
          <a:xfrm>
            <a:off x="0" y="4878388"/>
            <a:ext cx="947772" cy="84296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386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4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3FA93BF2-B11D-4FC5-9B10-8E083CAFCA12}"/>
              </a:ext>
            </a:extLst>
          </p:cNvPr>
          <p:cNvSpPr/>
          <p:nvPr userDrawn="1"/>
        </p:nvSpPr>
        <p:spPr>
          <a:xfrm>
            <a:off x="761069" y="842310"/>
            <a:ext cx="9410045" cy="40367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 err="1">
              <a:latin typeface="+mj-lt"/>
            </a:endParaRPr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04C55368-C9FF-4E80-A821-ECF4B91A34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0003" y="1616036"/>
            <a:ext cx="28928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0" baseline="0"/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3" name="Textplatzhalter 4">
            <a:extLst>
              <a:ext uri="{FF2B5EF4-FFF2-40B4-BE49-F238E27FC236}">
                <a16:creationId xmlns:a16="http://schemas.microsoft.com/office/drawing/2014/main" id="{DCA1C46C-FE53-4CB5-983F-95043DD5C2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0003" y="1808313"/>
            <a:ext cx="28928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genda</a:t>
            </a:r>
          </a:p>
        </p:txBody>
      </p: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4C56456F-A842-4673-B9B4-A420E7B2F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0003" y="2348482"/>
            <a:ext cx="28928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0" baseline="0"/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70" name="Textplatzhalter 4">
            <a:extLst>
              <a:ext uri="{FF2B5EF4-FFF2-40B4-BE49-F238E27FC236}">
                <a16:creationId xmlns:a16="http://schemas.microsoft.com/office/drawing/2014/main" id="{F1B2E5D1-D0D9-4ECD-99C5-A6F97DD19A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0003" y="2540759"/>
            <a:ext cx="28928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genda</a:t>
            </a:r>
          </a:p>
        </p:txBody>
      </p:sp>
      <p:sp>
        <p:nvSpPr>
          <p:cNvPr id="71" name="Textplatzhalter 4">
            <a:extLst>
              <a:ext uri="{FF2B5EF4-FFF2-40B4-BE49-F238E27FC236}">
                <a16:creationId xmlns:a16="http://schemas.microsoft.com/office/drawing/2014/main" id="{1108200B-3F4B-4770-9A39-BF274C511B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70003" y="3094897"/>
            <a:ext cx="28928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0" baseline="0"/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72" name="Textplatzhalter 4">
            <a:extLst>
              <a:ext uri="{FF2B5EF4-FFF2-40B4-BE49-F238E27FC236}">
                <a16:creationId xmlns:a16="http://schemas.microsoft.com/office/drawing/2014/main" id="{CFEC609D-F72F-4C73-9E59-1A7B68E841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0003" y="3287174"/>
            <a:ext cx="28928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genda</a:t>
            </a:r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8EE6C1EE-F60F-40FA-B72A-6452AA8D4D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70003" y="3817683"/>
            <a:ext cx="28928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0" baseline="0"/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F573C38E-34E1-4D8A-9905-A27FACF947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70003" y="4009960"/>
            <a:ext cx="28928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genda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CCD3883-268D-404C-86CD-292C9ED11E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41771" y="1553636"/>
            <a:ext cx="484058" cy="4837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BB0FBF2-FB7B-CC4E-9868-95DCE0EE1D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41771" y="2291633"/>
            <a:ext cx="484058" cy="4837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886CE867-369D-594A-99DA-520254F255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1771" y="3029355"/>
            <a:ext cx="484058" cy="4837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B0319E20-2D18-3C4F-B52B-64CF2E678E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41771" y="3758207"/>
            <a:ext cx="484058" cy="4837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CA541BC4-1640-48BE-BCDB-2C9179F6A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87864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Agenda (4 Angaben)</a:t>
            </a:r>
          </a:p>
        </p:txBody>
      </p:sp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09492F50-300F-4A13-80F4-927498968A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530561" y="847607"/>
            <a:ext cx="5640552" cy="4031432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335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97313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3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platzhalter 12">
            <a:extLst>
              <a:ext uri="{FF2B5EF4-FFF2-40B4-BE49-F238E27FC236}">
                <a16:creationId xmlns:a16="http://schemas.microsoft.com/office/drawing/2014/main" id="{E3643EA2-8E02-45CA-A39F-DAB17BFEAC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0171113" cy="4892374"/>
          </a:xfrm>
          <a:prstGeom prst="rect">
            <a:avLst/>
          </a:prstGeom>
        </p:spPr>
      </p:pic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1E149EB0-6633-EC48-8ACA-3E18C57410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64971" y="1917240"/>
            <a:ext cx="3709845" cy="1315190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6401 h 1182357"/>
              <a:gd name="connsiteX1" fmla="*/ 3335212 w 3916237"/>
              <a:gd name="connsiteY1" fmla="*/ 0 h 1182357"/>
              <a:gd name="connsiteX2" fmla="*/ 3916237 w 3916237"/>
              <a:gd name="connsiteY2" fmla="*/ 1182357 h 1182357"/>
              <a:gd name="connsiteX3" fmla="*/ 569704 w 3916237"/>
              <a:gd name="connsiteY3" fmla="*/ 1182357 h 1182357"/>
              <a:gd name="connsiteX4" fmla="*/ 0 w 3916237"/>
              <a:gd name="connsiteY4" fmla="*/ 6401 h 1182357"/>
              <a:gd name="connsiteX0" fmla="*/ 0 w 3335212"/>
              <a:gd name="connsiteY0" fmla="*/ 6401 h 1182357"/>
              <a:gd name="connsiteX1" fmla="*/ 3335212 w 3335212"/>
              <a:gd name="connsiteY1" fmla="*/ 0 h 1182357"/>
              <a:gd name="connsiteX2" fmla="*/ 3328862 w 3335212"/>
              <a:gd name="connsiteY2" fmla="*/ 1182357 h 1182357"/>
              <a:gd name="connsiteX3" fmla="*/ 569704 w 3335212"/>
              <a:gd name="connsiteY3" fmla="*/ 1182357 h 1182357"/>
              <a:gd name="connsiteX4" fmla="*/ 0 w 3335212"/>
              <a:gd name="connsiteY4" fmla="*/ 6401 h 1182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5212" h="1182357">
                <a:moveTo>
                  <a:pt x="0" y="6401"/>
                </a:moveTo>
                <a:lnTo>
                  <a:pt x="3335212" y="0"/>
                </a:lnTo>
                <a:cubicBezTo>
                  <a:pt x="3333095" y="394119"/>
                  <a:pt x="3330979" y="788238"/>
                  <a:pt x="3328862" y="1182357"/>
                </a:cubicBezTo>
                <a:lnTo>
                  <a:pt x="569704" y="1182357"/>
                </a:lnTo>
                <a:lnTo>
                  <a:pt x="0" y="640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8E38B91A-AA43-3648-99A7-462F23082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0621" y="3287576"/>
            <a:ext cx="3049428" cy="130812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51 h 1176007"/>
              <a:gd name="connsiteX1" fmla="*/ 2741487 w 3916237"/>
              <a:gd name="connsiteY1" fmla="*/ 0 h 1176007"/>
              <a:gd name="connsiteX2" fmla="*/ 3916237 w 3916237"/>
              <a:gd name="connsiteY2" fmla="*/ 1176007 h 1176007"/>
              <a:gd name="connsiteX3" fmla="*/ 569704 w 3916237"/>
              <a:gd name="connsiteY3" fmla="*/ 1176007 h 1176007"/>
              <a:gd name="connsiteX4" fmla="*/ 0 w 3916237"/>
              <a:gd name="connsiteY4" fmla="*/ 51 h 1176007"/>
              <a:gd name="connsiteX0" fmla="*/ 0 w 2741487"/>
              <a:gd name="connsiteY0" fmla="*/ 51 h 1176007"/>
              <a:gd name="connsiteX1" fmla="*/ 2741487 w 2741487"/>
              <a:gd name="connsiteY1" fmla="*/ 0 h 1176007"/>
              <a:gd name="connsiteX2" fmla="*/ 2738312 w 2741487"/>
              <a:gd name="connsiteY2" fmla="*/ 1176007 h 1176007"/>
              <a:gd name="connsiteX3" fmla="*/ 569704 w 2741487"/>
              <a:gd name="connsiteY3" fmla="*/ 1176007 h 1176007"/>
              <a:gd name="connsiteX4" fmla="*/ 0 w 2741487"/>
              <a:gd name="connsiteY4" fmla="*/ 51 h 1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1487" h="1176007">
                <a:moveTo>
                  <a:pt x="0" y="51"/>
                </a:moveTo>
                <a:lnTo>
                  <a:pt x="2741487" y="0"/>
                </a:lnTo>
                <a:cubicBezTo>
                  <a:pt x="2740429" y="392002"/>
                  <a:pt x="2739370" y="784005"/>
                  <a:pt x="2738312" y="1176007"/>
                </a:cubicBezTo>
                <a:lnTo>
                  <a:pt x="569704" y="1176007"/>
                </a:lnTo>
                <a:lnTo>
                  <a:pt x="0" y="5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3E47CD0-14B1-6B48-BD37-D5E31D1E7C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6252231" y="2316513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E7FAE09-2E51-9540-9D0C-651412FE99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6918813" y="3695671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9918EBE0-C521-FC4F-9CC7-C3BC26377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04648" y="550437"/>
            <a:ext cx="4356134" cy="1318721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85532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569704" y="1185532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0A5938DA-AB2D-B641-9609-172C5D5F7A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flipH="1">
            <a:off x="5602890" y="943102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F5929F82-2F3E-45AC-87CB-3DFE73C8D8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20935" y="1213409"/>
            <a:ext cx="313978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EB501B8-615F-F843-B54D-9920EC14A2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81259" y="2576681"/>
            <a:ext cx="313978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C3E9233D-477A-FF44-B2A2-A256EB6A6F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46907" y="3939953"/>
            <a:ext cx="313978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3344693-5232-46BB-A228-6965BF2E8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53693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Agenda (3 Angaben)</a:t>
            </a:r>
          </a:p>
        </p:txBody>
      </p:sp>
    </p:spTree>
    <p:extLst>
      <p:ext uri="{BB962C8B-B14F-4D97-AF65-F5344CB8AC3E}">
        <p14:creationId xmlns:p14="http://schemas.microsoft.com/office/powerpoint/2010/main" val="18288606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4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dplatzhalter 12">
            <a:extLst>
              <a:ext uri="{FF2B5EF4-FFF2-40B4-BE49-F238E27FC236}">
                <a16:creationId xmlns:a16="http://schemas.microsoft.com/office/drawing/2014/main" id="{3DD847EC-9243-47AA-8A79-68BACF9427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0171113" cy="4892374"/>
          </a:xfrm>
          <a:prstGeom prst="rect">
            <a:avLst/>
          </a:prstGeom>
        </p:spPr>
      </p:pic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257BECE9-2212-AD4C-9DDC-270418BA64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20212" y="1560148"/>
            <a:ext cx="3854981" cy="976202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5271 h 1185835"/>
              <a:gd name="connsiteX1" fmla="*/ 3465387 w 3916237"/>
              <a:gd name="connsiteY1" fmla="*/ 0 h 1185835"/>
              <a:gd name="connsiteX2" fmla="*/ 3916237 w 3916237"/>
              <a:gd name="connsiteY2" fmla="*/ 1181227 h 1185835"/>
              <a:gd name="connsiteX3" fmla="*/ 416738 w 3916237"/>
              <a:gd name="connsiteY3" fmla="*/ 1185835 h 1185835"/>
              <a:gd name="connsiteX4" fmla="*/ 0 w 3916237"/>
              <a:gd name="connsiteY4" fmla="*/ 5271 h 1185835"/>
              <a:gd name="connsiteX0" fmla="*/ 0 w 3465387"/>
              <a:gd name="connsiteY0" fmla="*/ 5271 h 1185835"/>
              <a:gd name="connsiteX1" fmla="*/ 3465387 w 3465387"/>
              <a:gd name="connsiteY1" fmla="*/ 0 h 1185835"/>
              <a:gd name="connsiteX2" fmla="*/ 3462212 w 3465387"/>
              <a:gd name="connsiteY2" fmla="*/ 1181227 h 1185835"/>
              <a:gd name="connsiteX3" fmla="*/ 416738 w 3465387"/>
              <a:gd name="connsiteY3" fmla="*/ 1185835 h 1185835"/>
              <a:gd name="connsiteX4" fmla="*/ 0 w 3465387"/>
              <a:gd name="connsiteY4" fmla="*/ 5271 h 1185835"/>
              <a:gd name="connsiteX0" fmla="*/ 0 w 3465692"/>
              <a:gd name="connsiteY0" fmla="*/ 5271 h 1189836"/>
              <a:gd name="connsiteX1" fmla="*/ 3465387 w 3465692"/>
              <a:gd name="connsiteY1" fmla="*/ 0 h 1189836"/>
              <a:gd name="connsiteX2" fmla="*/ 3465387 w 3465692"/>
              <a:gd name="connsiteY2" fmla="*/ 1189836 h 1189836"/>
              <a:gd name="connsiteX3" fmla="*/ 416738 w 3465692"/>
              <a:gd name="connsiteY3" fmla="*/ 1185835 h 1189836"/>
              <a:gd name="connsiteX4" fmla="*/ 0 w 3465692"/>
              <a:gd name="connsiteY4" fmla="*/ 5271 h 1189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5692" h="1189836">
                <a:moveTo>
                  <a:pt x="0" y="5271"/>
                </a:moveTo>
                <a:lnTo>
                  <a:pt x="3465387" y="0"/>
                </a:lnTo>
                <a:cubicBezTo>
                  <a:pt x="3464329" y="393742"/>
                  <a:pt x="3466445" y="796094"/>
                  <a:pt x="3465387" y="1189836"/>
                </a:cubicBezTo>
                <a:lnTo>
                  <a:pt x="416738" y="1185835"/>
                </a:lnTo>
                <a:lnTo>
                  <a:pt x="0" y="527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58B2995E-B67E-8C40-8046-5108E851D42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05499" y="2597220"/>
            <a:ext cx="3370807" cy="972920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5271 h 1185835"/>
              <a:gd name="connsiteX1" fmla="*/ 3030412 w 3916237"/>
              <a:gd name="connsiteY1" fmla="*/ 0 h 1185835"/>
              <a:gd name="connsiteX2" fmla="*/ 3916237 w 3916237"/>
              <a:gd name="connsiteY2" fmla="*/ 1181227 h 1185835"/>
              <a:gd name="connsiteX3" fmla="*/ 416738 w 3916237"/>
              <a:gd name="connsiteY3" fmla="*/ 1185835 h 1185835"/>
              <a:gd name="connsiteX4" fmla="*/ 0 w 3916237"/>
              <a:gd name="connsiteY4" fmla="*/ 5271 h 1185835"/>
              <a:gd name="connsiteX0" fmla="*/ 0 w 3030412"/>
              <a:gd name="connsiteY0" fmla="*/ 5271 h 1185835"/>
              <a:gd name="connsiteX1" fmla="*/ 3030412 w 3030412"/>
              <a:gd name="connsiteY1" fmla="*/ 0 h 1185835"/>
              <a:gd name="connsiteX2" fmla="*/ 3027237 w 3030412"/>
              <a:gd name="connsiteY2" fmla="*/ 1181227 h 1185835"/>
              <a:gd name="connsiteX3" fmla="*/ 416738 w 3030412"/>
              <a:gd name="connsiteY3" fmla="*/ 1185835 h 1185835"/>
              <a:gd name="connsiteX4" fmla="*/ 0 w 3030412"/>
              <a:gd name="connsiteY4" fmla="*/ 5271 h 1185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412" h="1185835">
                <a:moveTo>
                  <a:pt x="0" y="5271"/>
                </a:moveTo>
                <a:lnTo>
                  <a:pt x="3030412" y="0"/>
                </a:lnTo>
                <a:cubicBezTo>
                  <a:pt x="3029354" y="393742"/>
                  <a:pt x="3028295" y="787485"/>
                  <a:pt x="3027237" y="1181227"/>
                </a:cubicBezTo>
                <a:lnTo>
                  <a:pt x="416738" y="1185835"/>
                </a:lnTo>
                <a:lnTo>
                  <a:pt x="0" y="527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33B1F6F3-7175-2448-BFBB-584C7140D9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0787" y="3624529"/>
            <a:ext cx="2883442" cy="969388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67 h 1181531"/>
              <a:gd name="connsiteX1" fmla="*/ 2589087 w 3916237"/>
              <a:gd name="connsiteY1" fmla="*/ 0 h 1181531"/>
              <a:gd name="connsiteX2" fmla="*/ 3916237 w 3916237"/>
              <a:gd name="connsiteY2" fmla="*/ 1176923 h 1181531"/>
              <a:gd name="connsiteX3" fmla="*/ 416738 w 3916237"/>
              <a:gd name="connsiteY3" fmla="*/ 1181531 h 1181531"/>
              <a:gd name="connsiteX4" fmla="*/ 0 w 3916237"/>
              <a:gd name="connsiteY4" fmla="*/ 967 h 1181531"/>
              <a:gd name="connsiteX0" fmla="*/ 0 w 2592262"/>
              <a:gd name="connsiteY0" fmla="*/ 967 h 1181531"/>
              <a:gd name="connsiteX1" fmla="*/ 2589087 w 2592262"/>
              <a:gd name="connsiteY1" fmla="*/ 0 h 1181531"/>
              <a:gd name="connsiteX2" fmla="*/ 2592262 w 2592262"/>
              <a:gd name="connsiteY2" fmla="*/ 1181227 h 1181531"/>
              <a:gd name="connsiteX3" fmla="*/ 416738 w 2592262"/>
              <a:gd name="connsiteY3" fmla="*/ 1181531 h 1181531"/>
              <a:gd name="connsiteX4" fmla="*/ 0 w 2592262"/>
              <a:gd name="connsiteY4" fmla="*/ 967 h 1181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2262" h="1181531">
                <a:moveTo>
                  <a:pt x="0" y="967"/>
                </a:moveTo>
                <a:lnTo>
                  <a:pt x="2589087" y="0"/>
                </a:lnTo>
                <a:cubicBezTo>
                  <a:pt x="2590145" y="393742"/>
                  <a:pt x="2591204" y="787485"/>
                  <a:pt x="2592262" y="1181227"/>
                </a:cubicBezTo>
                <a:lnTo>
                  <a:pt x="416738" y="1181531"/>
                </a:lnTo>
                <a:lnTo>
                  <a:pt x="0" y="967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55" name="Textplatzhalter 4">
            <a:extLst>
              <a:ext uri="{FF2B5EF4-FFF2-40B4-BE49-F238E27FC236}">
                <a16:creationId xmlns:a16="http://schemas.microsoft.com/office/drawing/2014/main" id="{B063F175-38CC-42F7-811C-7040E4C21B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18653" y="2058051"/>
            <a:ext cx="27328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7" name="Textplatzhalter 4">
            <a:extLst>
              <a:ext uri="{FF2B5EF4-FFF2-40B4-BE49-F238E27FC236}">
                <a16:creationId xmlns:a16="http://schemas.microsoft.com/office/drawing/2014/main" id="{40527846-F98C-46C5-8E25-D69AD643D1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17571" y="3082839"/>
            <a:ext cx="223393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9" name="Textplatzhalter 4">
            <a:extLst>
              <a:ext uri="{FF2B5EF4-FFF2-40B4-BE49-F238E27FC236}">
                <a16:creationId xmlns:a16="http://schemas.microsoft.com/office/drawing/2014/main" id="{06586DCE-E9D8-49C0-ADC2-CF17B03A5E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5011" y="4110682"/>
            <a:ext cx="174648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B975105-8E39-6F40-9E65-900B15813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6019509" y="1804169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B272CA78-13D4-3E44-B0ED-ADF0A45666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14980" y="539486"/>
            <a:ext cx="4356134" cy="976452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90140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416738" y="1190140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5DEBB228-DA77-344D-A819-40450ED2B5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6502042" y="2811347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A6868CB-9C37-7647-BD03-F48D0DBABD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6996232" y="3857209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006E3972-7262-4D2F-A0D2-E9CC9FDA21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22878" y="1015993"/>
            <a:ext cx="322862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1D705AF0-DCB7-2D4F-B2F8-2854F8E21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5508235" y="759264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D692422-F2F5-42E1-BB8D-97303CC546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44476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Agenda (4 Angaben)</a:t>
            </a:r>
          </a:p>
        </p:txBody>
      </p:sp>
    </p:spTree>
    <p:extLst>
      <p:ext uri="{BB962C8B-B14F-4D97-AF65-F5344CB8AC3E}">
        <p14:creationId xmlns:p14="http://schemas.microsoft.com/office/powerpoint/2010/main" val="31808263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5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platzhalter 12">
            <a:extLst>
              <a:ext uri="{FF2B5EF4-FFF2-40B4-BE49-F238E27FC236}">
                <a16:creationId xmlns:a16="http://schemas.microsoft.com/office/drawing/2014/main" id="{723EC7D5-81FF-4C36-9C0E-9FB48B1715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0171113" cy="4892374"/>
          </a:xfrm>
          <a:prstGeom prst="rect">
            <a:avLst/>
          </a:prstGeom>
        </p:spPr>
      </p:pic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B3E3F257-2EA8-C448-A839-BF9311D7BF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26189" y="1376437"/>
            <a:ext cx="3954448" cy="763644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3555115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3555115"/>
              <a:gd name="connsiteY0" fmla="*/ 3855 h 1185533"/>
              <a:gd name="connsiteX1" fmla="*/ 3555115 w 3555115"/>
              <a:gd name="connsiteY1" fmla="*/ 0 h 1185533"/>
              <a:gd name="connsiteX2" fmla="*/ 3555115 w 3555115"/>
              <a:gd name="connsiteY2" fmla="*/ 1185533 h 1185533"/>
              <a:gd name="connsiteX3" fmla="*/ 318313 w 3555115"/>
              <a:gd name="connsiteY3" fmla="*/ 1184419 h 1185533"/>
              <a:gd name="connsiteX4" fmla="*/ 0 w 3555115"/>
              <a:gd name="connsiteY4" fmla="*/ 3855 h 118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5115" h="1185533">
                <a:moveTo>
                  <a:pt x="0" y="3855"/>
                </a:moveTo>
                <a:lnTo>
                  <a:pt x="3555115" y="0"/>
                </a:lnTo>
                <a:lnTo>
                  <a:pt x="3555115" y="1185533"/>
                </a:ln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E313362-BA83-6D46-A39B-E7A88FBDCD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14296" y="2195970"/>
            <a:ext cx="3574875" cy="76292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3 h 1184417"/>
              <a:gd name="connsiteX1" fmla="*/ 3213872 w 3916237"/>
              <a:gd name="connsiteY1" fmla="*/ 0 h 1184417"/>
              <a:gd name="connsiteX2" fmla="*/ 3916237 w 3916237"/>
              <a:gd name="connsiteY2" fmla="*/ 1179809 h 1184417"/>
              <a:gd name="connsiteX3" fmla="*/ 318313 w 3916237"/>
              <a:gd name="connsiteY3" fmla="*/ 1184417 h 1184417"/>
              <a:gd name="connsiteX4" fmla="*/ 0 w 3916237"/>
              <a:gd name="connsiteY4" fmla="*/ 3853 h 1184417"/>
              <a:gd name="connsiteX0" fmla="*/ 0 w 3213872"/>
              <a:gd name="connsiteY0" fmla="*/ 3853 h 1184417"/>
              <a:gd name="connsiteX1" fmla="*/ 3213872 w 3213872"/>
              <a:gd name="connsiteY1" fmla="*/ 0 h 1184417"/>
              <a:gd name="connsiteX2" fmla="*/ 3207246 w 3213872"/>
              <a:gd name="connsiteY2" fmla="*/ 1179810 h 1184417"/>
              <a:gd name="connsiteX3" fmla="*/ 318313 w 3213872"/>
              <a:gd name="connsiteY3" fmla="*/ 1184417 h 1184417"/>
              <a:gd name="connsiteX4" fmla="*/ 0 w 3213872"/>
              <a:gd name="connsiteY4" fmla="*/ 3853 h 1184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3872" h="1184417">
                <a:moveTo>
                  <a:pt x="0" y="3853"/>
                </a:moveTo>
                <a:lnTo>
                  <a:pt x="3213872" y="0"/>
                </a:lnTo>
                <a:cubicBezTo>
                  <a:pt x="3211663" y="393270"/>
                  <a:pt x="3209455" y="786540"/>
                  <a:pt x="3207246" y="1179810"/>
                </a:cubicBezTo>
                <a:lnTo>
                  <a:pt x="318313" y="1184417"/>
                </a:lnTo>
                <a:lnTo>
                  <a:pt x="0" y="3853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D19C2651-89E3-6440-9699-C1764DE7C7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09096" y="3014784"/>
            <a:ext cx="3176874" cy="762927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2856063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2856063"/>
              <a:gd name="connsiteY0" fmla="*/ 3855 h 1184419"/>
              <a:gd name="connsiteX1" fmla="*/ 2856063 w 2856063"/>
              <a:gd name="connsiteY1" fmla="*/ 0 h 1184419"/>
              <a:gd name="connsiteX2" fmla="*/ 2849437 w 2856063"/>
              <a:gd name="connsiteY2" fmla="*/ 1179812 h 1184419"/>
              <a:gd name="connsiteX3" fmla="*/ 318313 w 2856063"/>
              <a:gd name="connsiteY3" fmla="*/ 1184419 h 1184419"/>
              <a:gd name="connsiteX4" fmla="*/ 0 w 2856063"/>
              <a:gd name="connsiteY4" fmla="*/ 3855 h 1184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6063" h="1184419">
                <a:moveTo>
                  <a:pt x="0" y="3855"/>
                </a:moveTo>
                <a:lnTo>
                  <a:pt x="2856063" y="0"/>
                </a:lnTo>
                <a:cubicBezTo>
                  <a:pt x="2853854" y="393271"/>
                  <a:pt x="2851646" y="786541"/>
                  <a:pt x="2849437" y="1179812"/>
                </a:cubicBez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48A88F9C-03FE-F54F-94D0-1CDBAB5377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03895" y="3833600"/>
            <a:ext cx="2778874" cy="762927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2498254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2498254"/>
              <a:gd name="connsiteY0" fmla="*/ 3855 h 1184419"/>
              <a:gd name="connsiteX1" fmla="*/ 2498254 w 2498254"/>
              <a:gd name="connsiteY1" fmla="*/ 0 h 1184419"/>
              <a:gd name="connsiteX2" fmla="*/ 2494941 w 2498254"/>
              <a:gd name="connsiteY2" fmla="*/ 1179812 h 1184419"/>
              <a:gd name="connsiteX3" fmla="*/ 318313 w 2498254"/>
              <a:gd name="connsiteY3" fmla="*/ 1184419 h 1184419"/>
              <a:gd name="connsiteX4" fmla="*/ 0 w 2498254"/>
              <a:gd name="connsiteY4" fmla="*/ 3855 h 1184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254" h="1184419">
                <a:moveTo>
                  <a:pt x="0" y="3855"/>
                </a:moveTo>
                <a:lnTo>
                  <a:pt x="2498254" y="0"/>
                </a:lnTo>
                <a:cubicBezTo>
                  <a:pt x="2497150" y="393271"/>
                  <a:pt x="2496045" y="786541"/>
                  <a:pt x="2494941" y="1179812"/>
                </a:cubicBez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74619461-DCE2-E04D-B213-E2C2057F35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20456" y="553936"/>
            <a:ext cx="4356134" cy="766612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90140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318313" y="1190140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6AEF2793-1135-403E-AEF2-D90DD5856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21957" y="934395"/>
            <a:ext cx="32350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8597FC3-952A-B54E-A1FD-86E19ACA24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5463578" y="688683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8FCC801-B420-1F43-82AF-DE532C2DA7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5875480" y="1503830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EAFF4431-34B1-F448-9684-AD20DD037C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flipH="1">
            <a:off x="6261059" y="2327143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9A14905C-BDDA-BB49-9EC4-96122F715A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flipH="1">
            <a:off x="6656682" y="3148587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2368D683-1F7A-6D49-B62C-ED5726BFCDE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7058929" y="3970335"/>
            <a:ext cx="863806" cy="513457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2800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64" name="Textplatzhalter 4">
            <a:extLst>
              <a:ext uri="{FF2B5EF4-FFF2-40B4-BE49-F238E27FC236}">
                <a16:creationId xmlns:a16="http://schemas.microsoft.com/office/drawing/2014/main" id="{3636E4F0-72FA-4FE7-B519-DD15D6FE36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10119" y="4222960"/>
            <a:ext cx="16468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62B35A94-04B8-44D6-A896-AB846A110C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13509" y="3405316"/>
            <a:ext cx="204346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0" name="Textplatzhalter 4">
            <a:extLst>
              <a:ext uri="{FF2B5EF4-FFF2-40B4-BE49-F238E27FC236}">
                <a16:creationId xmlns:a16="http://schemas.microsoft.com/office/drawing/2014/main" id="{577EC97F-9199-450F-B723-7DF7F6966C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15837" y="2578317"/>
            <a:ext cx="24411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6A1EB573-FCA9-403D-A524-B4D70FA091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27811" y="1764861"/>
            <a:ext cx="282916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5CF8AA7-E869-419A-B46F-1E730BB572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024" y="264556"/>
            <a:ext cx="9549953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400" b="1" dirty="0"/>
              <a:t>Agenda (5 Angaben)</a:t>
            </a:r>
          </a:p>
        </p:txBody>
      </p:sp>
    </p:spTree>
    <p:extLst>
      <p:ext uri="{BB962C8B-B14F-4D97-AF65-F5344CB8AC3E}">
        <p14:creationId xmlns:p14="http://schemas.microsoft.com/office/powerpoint/2010/main" val="44662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winkliges Dreieck 1">
            <a:extLst>
              <a:ext uri="{FF2B5EF4-FFF2-40B4-BE49-F238E27FC236}">
                <a16:creationId xmlns:a16="http://schemas.microsoft.com/office/drawing/2014/main" id="{77827609-B996-4C67-A894-DBD475544679}"/>
              </a:ext>
            </a:extLst>
          </p:cNvPr>
          <p:cNvSpPr/>
          <p:nvPr userDrawn="1"/>
        </p:nvSpPr>
        <p:spPr>
          <a:xfrm>
            <a:off x="1" y="0"/>
            <a:ext cx="4598191" cy="5721350"/>
          </a:xfrm>
          <a:custGeom>
            <a:avLst/>
            <a:gdLst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2717800 w 2717800"/>
              <a:gd name="connsiteY2" fmla="*/ 4386262 h 4386262"/>
              <a:gd name="connsiteX3" fmla="*/ 0 w 2717800"/>
              <a:gd name="connsiteY3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416966 w 2717800"/>
              <a:gd name="connsiteY2" fmla="*/ 676541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687629 w 2717800"/>
              <a:gd name="connsiteY2" fmla="*/ 3543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687629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1565453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602" h="4386262">
                <a:moveTo>
                  <a:pt x="0" y="4386262"/>
                </a:moveTo>
                <a:lnTo>
                  <a:pt x="0" y="0"/>
                </a:lnTo>
                <a:lnTo>
                  <a:pt x="1565453" y="3543"/>
                </a:lnTo>
                <a:lnTo>
                  <a:pt x="3873602" y="4386262"/>
                </a:lnTo>
                <a:lnTo>
                  <a:pt x="0" y="43862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 eaLnBrk="1"/>
            <a:endParaRPr lang="de-DE" sz="2002" dirty="0">
              <a:latin typeface="+mj-lt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01646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4" name="think-cell Folie" r:id="rId37" imgW="270" imgH="270" progId="TCLayout.ActiveDocument.1">
                  <p:embed/>
                </p:oleObj>
              </mc:Choice>
              <mc:Fallback>
                <p:oleObj name="think-cell Foli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KPL08" hidden="1"/>
          <p:cNvSpPr/>
          <p:nvPr userDrawn="1"/>
        </p:nvSpPr>
        <p:spPr>
          <a:xfrm>
            <a:off x="7899698" y="5408818"/>
            <a:ext cx="780212" cy="305491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de-DE" sz="1400" b="0" dirty="0">
                <a:solidFill>
                  <a:srgbClr val="658E11"/>
                </a:solidFill>
              </a:rPr>
              <a:t>Keine Kenntlichmachung</a:t>
            </a:r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76410061-FB63-394F-8BEB-39D45BA00EA9}"/>
              </a:ext>
            </a:extLst>
          </p:cNvPr>
          <p:cNvSpPr/>
          <p:nvPr userDrawn="1"/>
        </p:nvSpPr>
        <p:spPr>
          <a:xfrm>
            <a:off x="-1432" y="5024243"/>
            <a:ext cx="717356" cy="417896"/>
          </a:xfrm>
          <a:custGeom>
            <a:avLst/>
            <a:gdLst>
              <a:gd name="connsiteX0" fmla="*/ 0 w 407233"/>
              <a:gd name="connsiteY0" fmla="*/ 0 h 374401"/>
              <a:gd name="connsiteX1" fmla="*/ 407233 w 407233"/>
              <a:gd name="connsiteY1" fmla="*/ 0 h 374401"/>
              <a:gd name="connsiteX2" fmla="*/ 407233 w 407233"/>
              <a:gd name="connsiteY2" fmla="*/ 374401 h 374401"/>
              <a:gd name="connsiteX3" fmla="*/ 0 w 407233"/>
              <a:gd name="connsiteY3" fmla="*/ 374401 h 374401"/>
              <a:gd name="connsiteX4" fmla="*/ 0 w 407233"/>
              <a:gd name="connsiteY4" fmla="*/ 0 h 374401"/>
              <a:gd name="connsiteX0" fmla="*/ 0 w 592112"/>
              <a:gd name="connsiteY0" fmla="*/ 0 h 374401"/>
              <a:gd name="connsiteX1" fmla="*/ 592112 w 592112"/>
              <a:gd name="connsiteY1" fmla="*/ 2499 h 374401"/>
              <a:gd name="connsiteX2" fmla="*/ 407233 w 592112"/>
              <a:gd name="connsiteY2" fmla="*/ 374401 h 374401"/>
              <a:gd name="connsiteX3" fmla="*/ 0 w 592112"/>
              <a:gd name="connsiteY3" fmla="*/ 374401 h 374401"/>
              <a:gd name="connsiteX4" fmla="*/ 0 w 592112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07233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53597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465841"/>
              <a:gd name="connsiteX1" fmla="*/ 643627 w 643627"/>
              <a:gd name="connsiteY1" fmla="*/ 2499 h 465841"/>
              <a:gd name="connsiteX2" fmla="*/ 453597 w 643627"/>
              <a:gd name="connsiteY2" fmla="*/ 374401 h 465841"/>
              <a:gd name="connsiteX3" fmla="*/ 91440 w 643627"/>
              <a:gd name="connsiteY3" fmla="*/ 465841 h 465841"/>
              <a:gd name="connsiteX0" fmla="*/ 1288 w 644915"/>
              <a:gd name="connsiteY0" fmla="*/ 0 h 375689"/>
              <a:gd name="connsiteX1" fmla="*/ 644915 w 644915"/>
              <a:gd name="connsiteY1" fmla="*/ 2499 h 375689"/>
              <a:gd name="connsiteX2" fmla="*/ 454885 w 644915"/>
              <a:gd name="connsiteY2" fmla="*/ 374401 h 375689"/>
              <a:gd name="connsiteX3" fmla="*/ 0 w 644915"/>
              <a:gd name="connsiteY3" fmla="*/ 375689 h 375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915" h="375689">
                <a:moveTo>
                  <a:pt x="1288" y="0"/>
                </a:moveTo>
                <a:lnTo>
                  <a:pt x="644915" y="2499"/>
                </a:lnTo>
                <a:lnTo>
                  <a:pt x="454885" y="374401"/>
                </a:lnTo>
                <a:lnTo>
                  <a:pt x="0" y="375689"/>
                </a:lnTo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0131" tIns="40044" rIns="120131" bIns="40044" rtlCol="0" anchor="ctr" anchorCtr="0">
            <a:normAutofit/>
          </a:bodyPr>
          <a:lstStyle/>
          <a:p>
            <a:pPr algn="ctr"/>
            <a:endParaRPr lang="de-DE" sz="2002" dirty="0">
              <a:latin typeface="+mj-lt"/>
            </a:endParaRPr>
          </a:p>
        </p:txBody>
      </p:sp>
      <p:sp>
        <p:nvSpPr>
          <p:cNvPr id="22" name="textBoxPageXFromY">
            <a:extLst>
              <a:ext uri="{FF2B5EF4-FFF2-40B4-BE49-F238E27FC236}">
                <a16:creationId xmlns:a16="http://schemas.microsoft.com/office/drawing/2014/main" id="{6C2ED314-14D2-FA4B-80DF-F41F7F264F70}"/>
              </a:ext>
            </a:extLst>
          </p:cNvPr>
          <p:cNvSpPr txBox="1">
            <a:spLocks/>
          </p:cNvSpPr>
          <p:nvPr userDrawn="1"/>
        </p:nvSpPr>
        <p:spPr>
          <a:xfrm>
            <a:off x="-1431" y="5092320"/>
            <a:ext cx="594080" cy="30549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0D4A06-67B2-402C-A949-A68965EC9D40}" type="slidenum">
              <a:rPr lang="de-DE" sz="900" smtClean="0"/>
              <a:t>‹#›</a:t>
            </a:fld>
            <a:r>
              <a:rPr lang="de-DE" sz="900" dirty="0"/>
              <a:t>/27</a:t>
            </a:r>
          </a:p>
        </p:txBody>
      </p:sp>
      <p:grpSp>
        <p:nvGrpSpPr>
          <p:cNvPr id="23" name="picPorsche">
            <a:extLst>
              <a:ext uri="{FF2B5EF4-FFF2-40B4-BE49-F238E27FC236}">
                <a16:creationId xmlns:a16="http://schemas.microsoft.com/office/drawing/2014/main" id="{CBBA5313-32CD-FD49-A6C2-772037E4C36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893024" y="5192400"/>
            <a:ext cx="2002188" cy="150797"/>
            <a:chOff x="3848100" y="2519363"/>
            <a:chExt cx="1452563" cy="109538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D26CA93C-FBBD-8C40-879D-C4FA14456A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813" y="2519363"/>
              <a:ext cx="196850" cy="109538"/>
            </a:xfrm>
            <a:custGeom>
              <a:avLst/>
              <a:gdLst>
                <a:gd name="T0" fmla="*/ 124 w 124"/>
                <a:gd name="T1" fmla="*/ 12 h 69"/>
                <a:gd name="T2" fmla="*/ 124 w 124"/>
                <a:gd name="T3" fmla="*/ 0 h 69"/>
                <a:gd name="T4" fmla="*/ 0 w 124"/>
                <a:gd name="T5" fmla="*/ 0 h 69"/>
                <a:gd name="T6" fmla="*/ 0 w 124"/>
                <a:gd name="T7" fmla="*/ 69 h 69"/>
                <a:gd name="T8" fmla="*/ 124 w 124"/>
                <a:gd name="T9" fmla="*/ 69 h 69"/>
                <a:gd name="T10" fmla="*/ 124 w 124"/>
                <a:gd name="T11" fmla="*/ 57 h 69"/>
                <a:gd name="T12" fmla="*/ 13 w 124"/>
                <a:gd name="T13" fmla="*/ 57 h 69"/>
                <a:gd name="T14" fmla="*/ 13 w 124"/>
                <a:gd name="T15" fmla="*/ 39 h 69"/>
                <a:gd name="T16" fmla="*/ 124 w 124"/>
                <a:gd name="T17" fmla="*/ 39 h 69"/>
                <a:gd name="T18" fmla="*/ 124 w 124"/>
                <a:gd name="T19" fmla="*/ 27 h 69"/>
                <a:gd name="T20" fmla="*/ 13 w 124"/>
                <a:gd name="T21" fmla="*/ 27 h 69"/>
                <a:gd name="T22" fmla="*/ 13 w 124"/>
                <a:gd name="T23" fmla="*/ 12 h 69"/>
                <a:gd name="T24" fmla="*/ 124 w 124"/>
                <a:gd name="T25" fmla="*/ 1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69">
                  <a:moveTo>
                    <a:pt x="124" y="12"/>
                  </a:moveTo>
                  <a:lnTo>
                    <a:pt x="124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24" y="69"/>
                  </a:lnTo>
                  <a:lnTo>
                    <a:pt x="124" y="57"/>
                  </a:lnTo>
                  <a:lnTo>
                    <a:pt x="13" y="57"/>
                  </a:lnTo>
                  <a:lnTo>
                    <a:pt x="13" y="39"/>
                  </a:lnTo>
                  <a:lnTo>
                    <a:pt x="124" y="39"/>
                  </a:lnTo>
                  <a:lnTo>
                    <a:pt x="124" y="27"/>
                  </a:lnTo>
                  <a:lnTo>
                    <a:pt x="13" y="27"/>
                  </a:lnTo>
                  <a:lnTo>
                    <a:pt x="13" y="12"/>
                  </a:lnTo>
                  <a:lnTo>
                    <a:pt x="124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CD934BCF-6F13-F348-A3AD-5B1C999C6D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3788" y="2519363"/>
              <a:ext cx="174625" cy="109538"/>
            </a:xfrm>
            <a:custGeom>
              <a:avLst/>
              <a:gdLst>
                <a:gd name="T0" fmla="*/ 96 w 110"/>
                <a:gd name="T1" fmla="*/ 27 h 69"/>
                <a:gd name="T2" fmla="*/ 13 w 110"/>
                <a:gd name="T3" fmla="*/ 27 h 69"/>
                <a:gd name="T4" fmla="*/ 13 w 110"/>
                <a:gd name="T5" fmla="*/ 0 h 69"/>
                <a:gd name="T6" fmla="*/ 0 w 110"/>
                <a:gd name="T7" fmla="*/ 0 h 69"/>
                <a:gd name="T8" fmla="*/ 0 w 110"/>
                <a:gd name="T9" fmla="*/ 69 h 69"/>
                <a:gd name="T10" fmla="*/ 13 w 110"/>
                <a:gd name="T11" fmla="*/ 69 h 69"/>
                <a:gd name="T12" fmla="*/ 13 w 110"/>
                <a:gd name="T13" fmla="*/ 42 h 69"/>
                <a:gd name="T14" fmla="*/ 96 w 110"/>
                <a:gd name="T15" fmla="*/ 42 h 69"/>
                <a:gd name="T16" fmla="*/ 96 w 110"/>
                <a:gd name="T17" fmla="*/ 69 h 69"/>
                <a:gd name="T18" fmla="*/ 110 w 110"/>
                <a:gd name="T19" fmla="*/ 69 h 69"/>
                <a:gd name="T20" fmla="*/ 110 w 110"/>
                <a:gd name="T21" fmla="*/ 42 h 69"/>
                <a:gd name="T22" fmla="*/ 110 w 110"/>
                <a:gd name="T23" fmla="*/ 27 h 69"/>
                <a:gd name="T24" fmla="*/ 110 w 110"/>
                <a:gd name="T25" fmla="*/ 0 h 69"/>
                <a:gd name="T26" fmla="*/ 96 w 110"/>
                <a:gd name="T27" fmla="*/ 0 h 69"/>
                <a:gd name="T28" fmla="*/ 96 w 110"/>
                <a:gd name="T29" fmla="*/ 2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0" h="69">
                  <a:moveTo>
                    <a:pt x="96" y="27"/>
                  </a:moveTo>
                  <a:lnTo>
                    <a:pt x="13" y="27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3" y="69"/>
                  </a:lnTo>
                  <a:lnTo>
                    <a:pt x="13" y="42"/>
                  </a:lnTo>
                  <a:lnTo>
                    <a:pt x="96" y="42"/>
                  </a:lnTo>
                  <a:lnTo>
                    <a:pt x="96" y="69"/>
                  </a:lnTo>
                  <a:lnTo>
                    <a:pt x="110" y="69"/>
                  </a:lnTo>
                  <a:lnTo>
                    <a:pt x="110" y="42"/>
                  </a:lnTo>
                  <a:lnTo>
                    <a:pt x="110" y="27"/>
                  </a:lnTo>
                  <a:lnTo>
                    <a:pt x="110" y="0"/>
                  </a:lnTo>
                  <a:lnTo>
                    <a:pt x="96" y="0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6BFA79A0-5AD0-0A40-BD13-EA25487CC2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7413" y="2519363"/>
              <a:ext cx="179388" cy="109538"/>
            </a:xfrm>
            <a:custGeom>
              <a:avLst/>
              <a:gdLst>
                <a:gd name="T0" fmla="*/ 0 w 42"/>
                <a:gd name="T1" fmla="*/ 5 h 23"/>
                <a:gd name="T2" fmla="*/ 0 w 42"/>
                <a:gd name="T3" fmla="*/ 18 h 23"/>
                <a:gd name="T4" fmla="*/ 5 w 42"/>
                <a:gd name="T5" fmla="*/ 23 h 23"/>
                <a:gd name="T6" fmla="*/ 42 w 42"/>
                <a:gd name="T7" fmla="*/ 23 h 23"/>
                <a:gd name="T8" fmla="*/ 42 w 42"/>
                <a:gd name="T9" fmla="*/ 18 h 23"/>
                <a:gd name="T10" fmla="*/ 6 w 42"/>
                <a:gd name="T11" fmla="*/ 18 h 23"/>
                <a:gd name="T12" fmla="*/ 5 w 42"/>
                <a:gd name="T13" fmla="*/ 17 h 23"/>
                <a:gd name="T14" fmla="*/ 5 w 42"/>
                <a:gd name="T15" fmla="*/ 5 h 23"/>
                <a:gd name="T16" fmla="*/ 6 w 42"/>
                <a:gd name="T17" fmla="*/ 5 h 23"/>
                <a:gd name="T18" fmla="*/ 42 w 42"/>
                <a:gd name="T19" fmla="*/ 5 h 23"/>
                <a:gd name="T20" fmla="*/ 42 w 42"/>
                <a:gd name="T21" fmla="*/ 0 h 23"/>
                <a:gd name="T22" fmla="*/ 5 w 42"/>
                <a:gd name="T23" fmla="*/ 0 h 23"/>
                <a:gd name="T24" fmla="*/ 0 w 42"/>
                <a:gd name="T25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3">
                  <a:moveTo>
                    <a:pt x="0" y="5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2" y="23"/>
                    <a:pt x="5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7"/>
                    <a:pt x="5" y="1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830C25E-1DCD-A444-83D4-A859B36221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4688" y="2519363"/>
              <a:ext cx="187325" cy="109538"/>
            </a:xfrm>
            <a:custGeom>
              <a:avLst/>
              <a:gdLst>
                <a:gd name="T0" fmla="*/ 38 w 44"/>
                <a:gd name="T1" fmla="*/ 9 h 23"/>
                <a:gd name="T2" fmla="*/ 6 w 44"/>
                <a:gd name="T3" fmla="*/ 9 h 23"/>
                <a:gd name="T4" fmla="*/ 6 w 44"/>
                <a:gd name="T5" fmla="*/ 9 h 23"/>
                <a:gd name="T6" fmla="*/ 5 w 44"/>
                <a:gd name="T7" fmla="*/ 8 h 23"/>
                <a:gd name="T8" fmla="*/ 5 w 44"/>
                <a:gd name="T9" fmla="*/ 5 h 23"/>
                <a:gd name="T10" fmla="*/ 6 w 44"/>
                <a:gd name="T11" fmla="*/ 4 h 23"/>
                <a:gd name="T12" fmla="*/ 43 w 44"/>
                <a:gd name="T13" fmla="*/ 4 h 23"/>
                <a:gd name="T14" fmla="*/ 43 w 44"/>
                <a:gd name="T15" fmla="*/ 0 h 23"/>
                <a:gd name="T16" fmla="*/ 5 w 44"/>
                <a:gd name="T17" fmla="*/ 0 h 23"/>
                <a:gd name="T18" fmla="*/ 0 w 44"/>
                <a:gd name="T19" fmla="*/ 5 h 23"/>
                <a:gd name="T20" fmla="*/ 0 w 44"/>
                <a:gd name="T21" fmla="*/ 8 h 23"/>
                <a:gd name="T22" fmla="*/ 5 w 44"/>
                <a:gd name="T23" fmla="*/ 13 h 23"/>
                <a:gd name="T24" fmla="*/ 38 w 44"/>
                <a:gd name="T25" fmla="*/ 13 h 23"/>
                <a:gd name="T26" fmla="*/ 38 w 44"/>
                <a:gd name="T27" fmla="*/ 14 h 23"/>
                <a:gd name="T28" fmla="*/ 38 w 44"/>
                <a:gd name="T29" fmla="*/ 14 h 23"/>
                <a:gd name="T30" fmla="*/ 38 w 44"/>
                <a:gd name="T31" fmla="*/ 18 h 23"/>
                <a:gd name="T32" fmla="*/ 38 w 44"/>
                <a:gd name="T33" fmla="*/ 19 h 23"/>
                <a:gd name="T34" fmla="*/ 0 w 44"/>
                <a:gd name="T35" fmla="*/ 19 h 23"/>
                <a:gd name="T36" fmla="*/ 0 w 44"/>
                <a:gd name="T37" fmla="*/ 23 h 23"/>
                <a:gd name="T38" fmla="*/ 38 w 44"/>
                <a:gd name="T39" fmla="*/ 23 h 23"/>
                <a:gd name="T40" fmla="*/ 44 w 44"/>
                <a:gd name="T41" fmla="*/ 18 h 23"/>
                <a:gd name="T42" fmla="*/ 44 w 44"/>
                <a:gd name="T43" fmla="*/ 18 h 23"/>
                <a:gd name="T44" fmla="*/ 44 w 44"/>
                <a:gd name="T45" fmla="*/ 14 h 23"/>
                <a:gd name="T46" fmla="*/ 44 w 44"/>
                <a:gd name="T47" fmla="*/ 14 h 23"/>
                <a:gd name="T48" fmla="*/ 38 w 44"/>
                <a:gd name="T4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" h="23">
                  <a:moveTo>
                    <a:pt x="38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2" y="13"/>
                    <a:pt x="5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1"/>
                    <a:pt x="41" y="9"/>
                    <a:pt x="38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F624E37A-C830-AD49-A3F7-67B54D7543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0375" y="2519363"/>
              <a:ext cx="188913" cy="109538"/>
            </a:xfrm>
            <a:custGeom>
              <a:avLst/>
              <a:gdLst>
                <a:gd name="T0" fmla="*/ 39 w 44"/>
                <a:gd name="T1" fmla="*/ 15 h 23"/>
                <a:gd name="T2" fmla="*/ 44 w 44"/>
                <a:gd name="T3" fmla="*/ 10 h 23"/>
                <a:gd name="T4" fmla="*/ 44 w 44"/>
                <a:gd name="T5" fmla="*/ 5 h 23"/>
                <a:gd name="T6" fmla="*/ 39 w 44"/>
                <a:gd name="T7" fmla="*/ 0 h 23"/>
                <a:gd name="T8" fmla="*/ 39 w 44"/>
                <a:gd name="T9" fmla="*/ 0 h 23"/>
                <a:gd name="T10" fmla="*/ 0 w 44"/>
                <a:gd name="T11" fmla="*/ 0 h 23"/>
                <a:gd name="T12" fmla="*/ 0 w 44"/>
                <a:gd name="T13" fmla="*/ 23 h 23"/>
                <a:gd name="T14" fmla="*/ 5 w 44"/>
                <a:gd name="T15" fmla="*/ 23 h 23"/>
                <a:gd name="T16" fmla="*/ 5 w 44"/>
                <a:gd name="T17" fmla="*/ 17 h 23"/>
                <a:gd name="T18" fmla="*/ 33 w 44"/>
                <a:gd name="T19" fmla="*/ 17 h 23"/>
                <a:gd name="T20" fmla="*/ 33 w 44"/>
                <a:gd name="T21" fmla="*/ 17 h 23"/>
                <a:gd name="T22" fmla="*/ 39 w 44"/>
                <a:gd name="T23" fmla="*/ 22 h 23"/>
                <a:gd name="T24" fmla="*/ 39 w 44"/>
                <a:gd name="T25" fmla="*/ 23 h 23"/>
                <a:gd name="T26" fmla="*/ 44 w 44"/>
                <a:gd name="T27" fmla="*/ 23 h 23"/>
                <a:gd name="T28" fmla="*/ 44 w 44"/>
                <a:gd name="T29" fmla="*/ 23 h 23"/>
                <a:gd name="T30" fmla="*/ 39 w 44"/>
                <a:gd name="T31" fmla="*/ 15 h 23"/>
                <a:gd name="T32" fmla="*/ 39 w 44"/>
                <a:gd name="T33" fmla="*/ 11 h 23"/>
                <a:gd name="T34" fmla="*/ 39 w 44"/>
                <a:gd name="T35" fmla="*/ 11 h 23"/>
                <a:gd name="T36" fmla="*/ 38 w 44"/>
                <a:gd name="T37" fmla="*/ 12 h 23"/>
                <a:gd name="T38" fmla="*/ 5 w 44"/>
                <a:gd name="T39" fmla="*/ 12 h 23"/>
                <a:gd name="T40" fmla="*/ 5 w 44"/>
                <a:gd name="T41" fmla="*/ 5 h 23"/>
                <a:gd name="T42" fmla="*/ 38 w 44"/>
                <a:gd name="T43" fmla="*/ 5 h 23"/>
                <a:gd name="T44" fmla="*/ 39 w 44"/>
                <a:gd name="T45" fmla="*/ 6 h 23"/>
                <a:gd name="T46" fmla="*/ 39 w 44"/>
                <a:gd name="T4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23">
                  <a:moveTo>
                    <a:pt x="39" y="15"/>
                  </a:moveTo>
                  <a:cubicBezTo>
                    <a:pt x="42" y="15"/>
                    <a:pt x="44" y="13"/>
                    <a:pt x="44" y="10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6" y="17"/>
                    <a:pt x="39" y="19"/>
                    <a:pt x="39" y="22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9"/>
                    <a:pt x="42" y="16"/>
                    <a:pt x="39" y="15"/>
                  </a:cubicBezTo>
                  <a:close/>
                  <a:moveTo>
                    <a:pt x="39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9" y="5"/>
                    <a:pt x="39" y="6"/>
                  </a:cubicBezTo>
                  <a:lnTo>
                    <a:pt x="39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9623D47-5DE1-554E-8AAC-A1C1FFB207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57650" y="2519363"/>
              <a:ext cx="187325" cy="109538"/>
            </a:xfrm>
            <a:custGeom>
              <a:avLst/>
              <a:gdLst>
                <a:gd name="T0" fmla="*/ 39 w 44"/>
                <a:gd name="T1" fmla="*/ 0 h 23"/>
                <a:gd name="T2" fmla="*/ 39 w 44"/>
                <a:gd name="T3" fmla="*/ 0 h 23"/>
                <a:gd name="T4" fmla="*/ 6 w 44"/>
                <a:gd name="T5" fmla="*/ 0 h 23"/>
                <a:gd name="T6" fmla="*/ 0 w 44"/>
                <a:gd name="T7" fmla="*/ 5 h 23"/>
                <a:gd name="T8" fmla="*/ 0 w 44"/>
                <a:gd name="T9" fmla="*/ 18 h 23"/>
                <a:gd name="T10" fmla="*/ 6 w 44"/>
                <a:gd name="T11" fmla="*/ 23 h 23"/>
                <a:gd name="T12" fmla="*/ 38 w 44"/>
                <a:gd name="T13" fmla="*/ 23 h 23"/>
                <a:gd name="T14" fmla="*/ 44 w 44"/>
                <a:gd name="T15" fmla="*/ 18 h 23"/>
                <a:gd name="T16" fmla="*/ 44 w 44"/>
                <a:gd name="T17" fmla="*/ 18 h 23"/>
                <a:gd name="T18" fmla="*/ 44 w 44"/>
                <a:gd name="T19" fmla="*/ 18 h 23"/>
                <a:gd name="T20" fmla="*/ 44 w 44"/>
                <a:gd name="T21" fmla="*/ 5 h 23"/>
                <a:gd name="T22" fmla="*/ 39 w 44"/>
                <a:gd name="T23" fmla="*/ 0 h 23"/>
                <a:gd name="T24" fmla="*/ 38 w 44"/>
                <a:gd name="T25" fmla="*/ 17 h 23"/>
                <a:gd name="T26" fmla="*/ 38 w 44"/>
                <a:gd name="T27" fmla="*/ 18 h 23"/>
                <a:gd name="T28" fmla="*/ 6 w 44"/>
                <a:gd name="T29" fmla="*/ 18 h 23"/>
                <a:gd name="T30" fmla="*/ 6 w 44"/>
                <a:gd name="T31" fmla="*/ 17 h 23"/>
                <a:gd name="T32" fmla="*/ 6 w 44"/>
                <a:gd name="T33" fmla="*/ 5 h 23"/>
                <a:gd name="T34" fmla="*/ 6 w 44"/>
                <a:gd name="T35" fmla="*/ 5 h 23"/>
                <a:gd name="T36" fmla="*/ 38 w 44"/>
                <a:gd name="T37" fmla="*/ 5 h 23"/>
                <a:gd name="T38" fmla="*/ 38 w 44"/>
                <a:gd name="T39" fmla="*/ 6 h 23"/>
                <a:gd name="T40" fmla="*/ 38 w 44"/>
                <a:gd name="T41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23"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3" y="23"/>
                    <a:pt x="6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lose/>
                  <a:moveTo>
                    <a:pt x="38" y="17"/>
                  </a:moveTo>
                  <a:cubicBezTo>
                    <a:pt x="38" y="17"/>
                    <a:pt x="38" y="18"/>
                    <a:pt x="3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7"/>
                    <a:pt x="6" y="17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DAF7E169-8825-7248-9FB1-2A1655A427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48100" y="2519363"/>
              <a:ext cx="184150" cy="109538"/>
            </a:xfrm>
            <a:custGeom>
              <a:avLst/>
              <a:gdLst>
                <a:gd name="T0" fmla="*/ 38 w 43"/>
                <a:gd name="T1" fmla="*/ 0 h 23"/>
                <a:gd name="T2" fmla="*/ 38 w 43"/>
                <a:gd name="T3" fmla="*/ 0 h 23"/>
                <a:gd name="T4" fmla="*/ 0 w 43"/>
                <a:gd name="T5" fmla="*/ 0 h 23"/>
                <a:gd name="T6" fmla="*/ 0 w 43"/>
                <a:gd name="T7" fmla="*/ 23 h 23"/>
                <a:gd name="T8" fmla="*/ 5 w 43"/>
                <a:gd name="T9" fmla="*/ 23 h 23"/>
                <a:gd name="T10" fmla="*/ 5 w 43"/>
                <a:gd name="T11" fmla="*/ 17 h 23"/>
                <a:gd name="T12" fmla="*/ 38 w 43"/>
                <a:gd name="T13" fmla="*/ 17 h 23"/>
                <a:gd name="T14" fmla="*/ 43 w 43"/>
                <a:gd name="T15" fmla="*/ 12 h 23"/>
                <a:gd name="T16" fmla="*/ 43 w 43"/>
                <a:gd name="T17" fmla="*/ 5 h 23"/>
                <a:gd name="T18" fmla="*/ 38 w 43"/>
                <a:gd name="T19" fmla="*/ 0 h 23"/>
                <a:gd name="T20" fmla="*/ 38 w 43"/>
                <a:gd name="T21" fmla="*/ 11 h 23"/>
                <a:gd name="T22" fmla="*/ 38 w 43"/>
                <a:gd name="T23" fmla="*/ 12 h 23"/>
                <a:gd name="T24" fmla="*/ 5 w 43"/>
                <a:gd name="T25" fmla="*/ 12 h 23"/>
                <a:gd name="T26" fmla="*/ 5 w 43"/>
                <a:gd name="T27" fmla="*/ 5 h 23"/>
                <a:gd name="T28" fmla="*/ 37 w 43"/>
                <a:gd name="T29" fmla="*/ 5 h 23"/>
                <a:gd name="T30" fmla="*/ 38 w 43"/>
                <a:gd name="T31" fmla="*/ 6 h 23"/>
                <a:gd name="T32" fmla="*/ 38 w 43"/>
                <a:gd name="T3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23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41" y="17"/>
                    <a:pt x="43" y="14"/>
                    <a:pt x="43" y="12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2"/>
                    <a:pt x="41" y="0"/>
                    <a:pt x="38" y="0"/>
                  </a:cubicBezTo>
                  <a:close/>
                  <a:moveTo>
                    <a:pt x="38" y="11"/>
                  </a:moveTo>
                  <a:cubicBezTo>
                    <a:pt x="38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02" dirty="0"/>
            </a:p>
          </p:txBody>
        </p:sp>
      </p:grpSp>
      <p:sp>
        <p:nvSpPr>
          <p:cNvPr id="35" name="textBoxChangeDate" hidden="1">
            <a:extLst>
              <a:ext uri="{FF2B5EF4-FFF2-40B4-BE49-F238E27FC236}">
                <a16:creationId xmlns:a16="http://schemas.microsoft.com/office/drawing/2014/main" id="{E66FA289-8747-411D-B981-EE77120C2E7A}"/>
              </a:ext>
            </a:extLst>
          </p:cNvPr>
          <p:cNvSpPr txBox="1">
            <a:spLocks/>
          </p:cNvSpPr>
          <p:nvPr userDrawn="1"/>
        </p:nvSpPr>
        <p:spPr>
          <a:xfrm>
            <a:off x="1033463" y="5110052"/>
            <a:ext cx="14042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900" b="0" dirty="0"/>
              <a:t>Änderungsdatum: 12.10.2018</a:t>
            </a:r>
          </a:p>
        </p:txBody>
      </p:sp>
      <p:sp>
        <p:nvSpPr>
          <p:cNvPr id="36" name="textBoxCreationDate" hidden="1">
            <a:extLst>
              <a:ext uri="{FF2B5EF4-FFF2-40B4-BE49-F238E27FC236}">
                <a16:creationId xmlns:a16="http://schemas.microsoft.com/office/drawing/2014/main" id="{4DE7E2AF-F273-4E0D-95F2-BA2DCD4C1100}"/>
              </a:ext>
            </a:extLst>
          </p:cNvPr>
          <p:cNvSpPr txBox="1">
            <a:spLocks/>
          </p:cNvSpPr>
          <p:nvPr userDrawn="1"/>
        </p:nvSpPr>
        <p:spPr>
          <a:xfrm>
            <a:off x="1033463" y="5260951"/>
            <a:ext cx="134972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900" b="0"/>
              <a:t>Erstellungsdatum: 3/6/2020</a:t>
            </a:r>
            <a:endParaRPr lang="de-DE" sz="900" b="0" dirty="0"/>
          </a:p>
        </p:txBody>
      </p:sp>
      <p:sp>
        <p:nvSpPr>
          <p:cNvPr id="20" name="textBoxUserName">
            <a:extLst>
              <a:ext uri="{FF2B5EF4-FFF2-40B4-BE49-F238E27FC236}">
                <a16:creationId xmlns:a16="http://schemas.microsoft.com/office/drawing/2014/main" id="{4256B69B-FB45-44AE-9888-1CD421195833}"/>
              </a:ext>
            </a:extLst>
          </p:cNvPr>
          <p:cNvSpPr txBox="1">
            <a:spLocks noChangeArrowheads="1"/>
          </p:cNvSpPr>
          <p:nvPr userDrawn="1">
            <p:custDataLst>
              <p:tags r:id="rId35"/>
            </p:custDataLst>
          </p:nvPr>
        </p:nvSpPr>
        <p:spPr bwMode="auto">
          <a:xfrm>
            <a:off x="177800" y="5534399"/>
            <a:ext cx="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700" dirty="0"/>
          </a:p>
        </p:txBody>
      </p:sp>
      <p:sp>
        <p:nvSpPr>
          <p:cNvPr id="21" name="textBoxDepartment">
            <a:extLst>
              <a:ext uri="{FF2B5EF4-FFF2-40B4-BE49-F238E27FC236}">
                <a16:creationId xmlns:a16="http://schemas.microsoft.com/office/drawing/2014/main" id="{94C697CA-6027-452F-B1DA-30301A41340C}"/>
              </a:ext>
            </a:extLst>
          </p:cNvPr>
          <p:cNvSpPr txBox="1">
            <a:spLocks noChangeArrowheads="1"/>
          </p:cNvSpPr>
          <p:nvPr userDrawn="1">
            <p:custDataLst>
              <p:tags r:id="rId36"/>
            </p:custDataLst>
          </p:nvPr>
        </p:nvSpPr>
        <p:spPr bwMode="auto">
          <a:xfrm>
            <a:off x="254065" y="5534399"/>
            <a:ext cx="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700" dirty="0"/>
          </a:p>
        </p:txBody>
      </p:sp>
    </p:spTree>
    <p:extLst>
      <p:ext uri="{BB962C8B-B14F-4D97-AF65-F5344CB8AC3E}">
        <p14:creationId xmlns:p14="http://schemas.microsoft.com/office/powerpoint/2010/main" val="3979893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74" r:id="rId3"/>
    <p:sldLayoutId id="2147483712" r:id="rId4"/>
    <p:sldLayoutId id="2147483714" r:id="rId5"/>
    <p:sldLayoutId id="2147483720" r:id="rId6"/>
    <p:sldLayoutId id="2147483723" r:id="rId7"/>
    <p:sldLayoutId id="2147483762" r:id="rId8"/>
    <p:sldLayoutId id="2147483763" r:id="rId9"/>
    <p:sldLayoutId id="2147483729" r:id="rId10"/>
    <p:sldLayoutId id="2147483731" r:id="rId11"/>
    <p:sldLayoutId id="2147483733" r:id="rId12"/>
    <p:sldLayoutId id="2147483734" r:id="rId13"/>
    <p:sldLayoutId id="2147483735" r:id="rId14"/>
    <p:sldLayoutId id="2147483768" r:id="rId15"/>
    <p:sldLayoutId id="2147483769" r:id="rId16"/>
    <p:sldLayoutId id="2147483739" r:id="rId17"/>
    <p:sldLayoutId id="2147483770" r:id="rId18"/>
    <p:sldLayoutId id="2147483771" r:id="rId19"/>
    <p:sldLayoutId id="2147483772" r:id="rId20"/>
    <p:sldLayoutId id="2147483741" r:id="rId21"/>
    <p:sldLayoutId id="2147483743" r:id="rId22"/>
    <p:sldLayoutId id="2147483745" r:id="rId23"/>
    <p:sldLayoutId id="2147483754" r:id="rId24"/>
    <p:sldLayoutId id="2147483756" r:id="rId25"/>
    <p:sldLayoutId id="2147483757" r:id="rId26"/>
    <p:sldLayoutId id="2147483758" r:id="rId27"/>
    <p:sldLayoutId id="2147483759" r:id="rId28"/>
    <p:sldLayoutId id="2147483760" r:id="rId29"/>
    <p:sldLayoutId id="2147483761" r:id="rId30"/>
    <p:sldLayoutId id="2147483767" r:id="rId3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>
          <a:prstClr val="black"/>
        </a:buClr>
        <a:buSzPct val="90000"/>
        <a:buFontTx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marR="0" indent="-179388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marR="0" indent="-179388" algn="l" defTabSz="358775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Porsche News Gothic" panose="02000400000000000000" pitchFamily="2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marR="0" indent="-179388" algn="l" defTabSz="538163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marR="0" indent="-179388" algn="l" defTabSz="71755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98525" marR="0" indent="-180975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98525" marR="0" indent="-180975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898525" marR="0" indent="-180975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898525" marR="0" indent="-180975" algn="l" defTabSz="91440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91440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2" userDrawn="1">
          <p15:clr>
            <a:srgbClr val="F26B43"/>
          </p15:clr>
        </p15:guide>
        <p15:guide id="2" pos="479" userDrawn="1">
          <p15:clr>
            <a:srgbClr val="F26B43"/>
          </p15:clr>
        </p15:guide>
        <p15:guide id="3" orient="horz" pos="529" userDrawn="1">
          <p15:clr>
            <a:srgbClr val="F26B43"/>
          </p15:clr>
        </p15:guide>
        <p15:guide id="4" orient="horz" pos="704" userDrawn="1">
          <p15:clr>
            <a:srgbClr val="A4A3A4"/>
          </p15:clr>
        </p15:guide>
        <p15:guide id="5" orient="horz" pos="3073" userDrawn="1">
          <p15:clr>
            <a:srgbClr val="F26B43"/>
          </p15:clr>
        </p15:guide>
        <p15:guide id="6" orient="horz" pos="2896" userDrawn="1">
          <p15:clr>
            <a:srgbClr val="A4A3A4"/>
          </p15:clr>
        </p15:guide>
        <p15:guide id="7" pos="651" userDrawn="1">
          <p15:clr>
            <a:srgbClr val="A4A3A4"/>
          </p15:clr>
        </p15:guide>
        <p15:guide id="8" pos="1438" userDrawn="1">
          <p15:clr>
            <a:srgbClr val="A4A3A4"/>
          </p15:clr>
        </p15:guide>
        <p15:guide id="9" pos="1613" userDrawn="1">
          <p15:clr>
            <a:srgbClr val="A4A3A4"/>
          </p15:clr>
        </p15:guide>
        <p15:guide id="10" pos="2397" userDrawn="1">
          <p15:clr>
            <a:srgbClr val="A4A3A4"/>
          </p15:clr>
        </p15:guide>
        <p15:guide id="11" pos="2572" userDrawn="1">
          <p15:clr>
            <a:srgbClr val="A4A3A4"/>
          </p15:clr>
        </p15:guide>
        <p15:guide id="12" pos="3356" userDrawn="1">
          <p15:clr>
            <a:srgbClr val="A4A3A4"/>
          </p15:clr>
        </p15:guide>
        <p15:guide id="13" pos="3531" userDrawn="1">
          <p15:clr>
            <a:srgbClr val="A4A3A4"/>
          </p15:clr>
        </p15:guide>
        <p15:guide id="14" pos="4315" userDrawn="1">
          <p15:clr>
            <a:srgbClr val="A4A3A4"/>
          </p15:clr>
        </p15:guide>
        <p15:guide id="15" pos="4493" userDrawn="1">
          <p15:clr>
            <a:srgbClr val="A4A3A4"/>
          </p15:clr>
        </p15:guide>
        <p15:guide id="16" pos="5277" userDrawn="1">
          <p15:clr>
            <a:srgbClr val="A4A3A4"/>
          </p15:clr>
        </p15:guide>
        <p15:guide id="17" pos="5452" userDrawn="1">
          <p15:clr>
            <a:srgbClr val="A4A3A4"/>
          </p15:clr>
        </p15:guide>
        <p15:guide id="18" pos="623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E23E83AB-8AE3-4DC5-88E4-0ECEAC024625}"/>
              </a:ext>
            </a:extLst>
          </p:cNvPr>
          <p:cNvSpPr txBox="1">
            <a:spLocks/>
          </p:cNvSpPr>
          <p:nvPr/>
        </p:nvSpPr>
        <p:spPr>
          <a:xfrm>
            <a:off x="2228847" y="262577"/>
            <a:ext cx="7561697" cy="369332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b="0" dirty="0"/>
          </a:p>
        </p:txBody>
      </p:sp>
      <p:sp>
        <p:nvSpPr>
          <p:cNvPr id="10" name="textBoxChapter">
            <a:extLst>
              <a:ext uri="{FF2B5EF4-FFF2-40B4-BE49-F238E27FC236}">
                <a16:creationId xmlns:a16="http://schemas.microsoft.com/office/drawing/2014/main" id="{A3EDBF11-724F-486C-A0BC-69777F9A46AD}"/>
              </a:ext>
            </a:extLst>
          </p:cNvPr>
          <p:cNvSpPr txBox="1"/>
          <p:nvPr/>
        </p:nvSpPr>
        <p:spPr>
          <a:xfrm>
            <a:off x="0" y="1437054"/>
            <a:ext cx="10171113" cy="3096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All unit tests in literatu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20DC964-F6CF-4387-8A21-4D94B60AE74F}"/>
              </a:ext>
            </a:extLst>
          </p:cNvPr>
          <p:cNvGrpSpPr/>
          <p:nvPr/>
        </p:nvGrpSpPr>
        <p:grpSpPr>
          <a:xfrm>
            <a:off x="2518821" y="2014094"/>
            <a:ext cx="5133470" cy="2101678"/>
            <a:chOff x="2338122" y="2002545"/>
            <a:chExt cx="5494867" cy="210167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C1C7B6D-8245-4BF7-8931-BDCF5C66730A}"/>
                </a:ext>
              </a:extLst>
            </p:cNvPr>
            <p:cNvSpPr/>
            <p:nvPr/>
          </p:nvSpPr>
          <p:spPr>
            <a:xfrm>
              <a:off x="2338122" y="2002545"/>
              <a:ext cx="5494867" cy="2101678"/>
            </a:xfrm>
            <a:prstGeom prst="rect">
              <a:avLst/>
            </a:prstGeom>
            <a:solidFill>
              <a:schemeClr val="accent4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textBoxChapter">
              <a:extLst>
                <a:ext uri="{FF2B5EF4-FFF2-40B4-BE49-F238E27FC236}">
                  <a16:creationId xmlns:a16="http://schemas.microsoft.com/office/drawing/2014/main" id="{DE727DF0-053E-4867-935E-8D5827828105}"/>
                </a:ext>
              </a:extLst>
            </p:cNvPr>
            <p:cNvSpPr txBox="1"/>
            <p:nvPr/>
          </p:nvSpPr>
          <p:spPr>
            <a:xfrm>
              <a:off x="2423804" y="3794623"/>
              <a:ext cx="2189312" cy="3096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</a:rPr>
                <a:t>Compare-xAI benchmark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74F2AEB-D803-437C-A8D4-225BD34FDC49}"/>
                </a:ext>
              </a:extLst>
            </p:cNvPr>
            <p:cNvSpPr/>
            <p:nvPr/>
          </p:nvSpPr>
          <p:spPr>
            <a:xfrm>
              <a:off x="3958598" y="2797264"/>
              <a:ext cx="2253916" cy="502142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spc="50" dirty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  <a:latin typeface="Roboto" panose="02000000000000000000" pitchFamily="2" charset="0"/>
                  <a:ea typeface="Roboto" panose="02000000000000000000" pitchFamily="2" charset="0"/>
                </a:rPr>
                <a:t>Run experiments</a:t>
              </a:r>
            </a:p>
          </p:txBody>
        </p:sp>
      </p:grpSp>
      <p:sp>
        <p:nvSpPr>
          <p:cNvPr id="12" name="textBoxChapter">
            <a:extLst>
              <a:ext uri="{FF2B5EF4-FFF2-40B4-BE49-F238E27FC236}">
                <a16:creationId xmlns:a16="http://schemas.microsoft.com/office/drawing/2014/main" id="{950F8266-96D2-4550-B7D5-7BB5D5FF0926}"/>
              </a:ext>
            </a:extLst>
          </p:cNvPr>
          <p:cNvSpPr txBox="1"/>
          <p:nvPr/>
        </p:nvSpPr>
        <p:spPr>
          <a:xfrm>
            <a:off x="0" y="2183342"/>
            <a:ext cx="10171113" cy="3096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A selection of fair unit tests </a:t>
            </a:r>
          </a:p>
        </p:txBody>
      </p:sp>
      <p:sp>
        <p:nvSpPr>
          <p:cNvPr id="13" name="textBoxChapter">
            <a:extLst>
              <a:ext uri="{FF2B5EF4-FFF2-40B4-BE49-F238E27FC236}">
                <a16:creationId xmlns:a16="http://schemas.microsoft.com/office/drawing/2014/main" id="{105AB3AA-5141-4E84-9124-F78AE9401CB6}"/>
              </a:ext>
            </a:extLst>
          </p:cNvPr>
          <p:cNvSpPr txBox="1"/>
          <p:nvPr/>
        </p:nvSpPr>
        <p:spPr>
          <a:xfrm>
            <a:off x="1515976" y="2898584"/>
            <a:ext cx="859910" cy="3096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AI algorithms</a:t>
            </a:r>
          </a:p>
        </p:txBody>
      </p:sp>
      <p:sp>
        <p:nvSpPr>
          <p:cNvPr id="14" name="textBoxChapter">
            <a:extLst>
              <a:ext uri="{FF2B5EF4-FFF2-40B4-BE49-F238E27FC236}">
                <a16:creationId xmlns:a16="http://schemas.microsoft.com/office/drawing/2014/main" id="{00A584A6-5BCB-4581-A428-EED7287409DA}"/>
              </a:ext>
            </a:extLst>
          </p:cNvPr>
          <p:cNvSpPr txBox="1"/>
          <p:nvPr/>
        </p:nvSpPr>
        <p:spPr>
          <a:xfrm>
            <a:off x="6423342" y="2905084"/>
            <a:ext cx="1012175" cy="3096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Raw results</a:t>
            </a:r>
          </a:p>
        </p:txBody>
      </p:sp>
      <p:sp>
        <p:nvSpPr>
          <p:cNvPr id="15" name="textBoxChapter">
            <a:extLst>
              <a:ext uri="{FF2B5EF4-FFF2-40B4-BE49-F238E27FC236}">
                <a16:creationId xmlns:a16="http://schemas.microsoft.com/office/drawing/2014/main" id="{02AA7A72-0B39-4F86-8B4C-A39D4CE7C704}"/>
              </a:ext>
            </a:extLst>
          </p:cNvPr>
          <p:cNvSpPr txBox="1"/>
          <p:nvPr/>
        </p:nvSpPr>
        <p:spPr>
          <a:xfrm>
            <a:off x="7871919" y="2808087"/>
            <a:ext cx="1037311" cy="50214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Hierarchical scoring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D961534-69F4-436A-AA19-3A5AE66EF92F}"/>
              </a:ext>
            </a:extLst>
          </p:cNvPr>
          <p:cNvCxnSpPr>
            <a:cxnSpLocks/>
            <a:stCxn id="10" idx="2"/>
          </p:cNvCxnSpPr>
          <p:nvPr/>
        </p:nvCxnSpPr>
        <p:spPr>
          <a:xfrm>
            <a:off x="5085557" y="1746654"/>
            <a:ext cx="0" cy="436688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D9F6083-DC4C-4CDF-98A7-045DBCB64960}"/>
              </a:ext>
            </a:extLst>
          </p:cNvPr>
          <p:cNvCxnSpPr>
            <a:cxnSpLocks/>
            <a:stCxn id="13" idx="3"/>
            <a:endCxn id="4" idx="1"/>
          </p:cNvCxnSpPr>
          <p:nvPr/>
        </p:nvCxnSpPr>
        <p:spPr>
          <a:xfrm>
            <a:off x="2375886" y="3053384"/>
            <a:ext cx="1656832" cy="650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C33ED23-F80A-4B16-9C67-56BDBDB5CD59}"/>
              </a:ext>
            </a:extLst>
          </p:cNvPr>
          <p:cNvCxnSpPr>
            <a:cxnSpLocks/>
            <a:stCxn id="12" idx="2"/>
            <a:endCxn id="4" idx="0"/>
          </p:cNvCxnSpPr>
          <p:nvPr/>
        </p:nvCxnSpPr>
        <p:spPr>
          <a:xfrm flipH="1">
            <a:off x="5085556" y="2492942"/>
            <a:ext cx="1" cy="315871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02D47649-A516-4DA0-8A39-EABC9727146B}"/>
              </a:ext>
            </a:extLst>
          </p:cNvPr>
          <p:cNvCxnSpPr>
            <a:cxnSpLocks/>
            <a:stCxn id="4" idx="3"/>
            <a:endCxn id="14" idx="1"/>
          </p:cNvCxnSpPr>
          <p:nvPr/>
        </p:nvCxnSpPr>
        <p:spPr>
          <a:xfrm>
            <a:off x="6138394" y="3059884"/>
            <a:ext cx="284948" cy="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E56CB3A-892C-4582-9AA3-97291FB826DB}"/>
              </a:ext>
            </a:extLst>
          </p:cNvPr>
          <p:cNvCxnSpPr>
            <a:cxnSpLocks/>
            <a:stCxn id="14" idx="3"/>
            <a:endCxn id="15" idx="1"/>
          </p:cNvCxnSpPr>
          <p:nvPr/>
        </p:nvCxnSpPr>
        <p:spPr>
          <a:xfrm flipV="1">
            <a:off x="7435517" y="3059158"/>
            <a:ext cx="436402" cy="726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Chapter">
            <a:extLst>
              <a:ext uri="{FF2B5EF4-FFF2-40B4-BE49-F238E27FC236}">
                <a16:creationId xmlns:a16="http://schemas.microsoft.com/office/drawing/2014/main" id="{0EB67450-6C3E-4873-B516-C66E195DEFAE}"/>
              </a:ext>
            </a:extLst>
          </p:cNvPr>
          <p:cNvSpPr txBox="1"/>
          <p:nvPr/>
        </p:nvSpPr>
        <p:spPr>
          <a:xfrm>
            <a:off x="5958121" y="2340707"/>
            <a:ext cx="439535" cy="4029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de-DE" sz="2800" b="0" i="0" dirty="0">
                <a:solidFill>
                  <a:schemeClr val="accent2"/>
                </a:solidFill>
                <a:effectLst/>
                <a:latin typeface="Arial" panose="020B0604020202020204" pitchFamily="34" charset="0"/>
              </a:rPr>
              <a:t>➀</a:t>
            </a:r>
            <a:endParaRPr lang="en-US" sz="1400" dirty="0">
              <a:solidFill>
                <a:schemeClr val="accent2"/>
              </a:solidFill>
              <a:latin typeface="NewsGoth for Porsche Com" panose="020B0506020203020204" pitchFamily="34" charset="0"/>
            </a:endParaRPr>
          </a:p>
        </p:txBody>
      </p:sp>
      <p:sp>
        <p:nvSpPr>
          <p:cNvPr id="30" name="textBoxChapter">
            <a:extLst>
              <a:ext uri="{FF2B5EF4-FFF2-40B4-BE49-F238E27FC236}">
                <a16:creationId xmlns:a16="http://schemas.microsoft.com/office/drawing/2014/main" id="{606C0DD0-C978-424D-9811-B18C623F6546}"/>
              </a:ext>
            </a:extLst>
          </p:cNvPr>
          <p:cNvSpPr txBox="1"/>
          <p:nvPr/>
        </p:nvSpPr>
        <p:spPr>
          <a:xfrm>
            <a:off x="7231524" y="3087369"/>
            <a:ext cx="502012" cy="4029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de-DE" sz="2800" b="0" i="0" dirty="0">
                <a:solidFill>
                  <a:schemeClr val="accent2"/>
                </a:solidFill>
                <a:effectLst/>
                <a:latin typeface="Arial" panose="020B0604020202020204" pitchFamily="34" charset="0"/>
              </a:rPr>
              <a:t>➁</a:t>
            </a:r>
            <a:endParaRPr lang="en-US" sz="1400" dirty="0">
              <a:solidFill>
                <a:schemeClr val="accent2"/>
              </a:solidFill>
              <a:latin typeface="NewsGoth for Porsche Com" panose="020B0506020203020204" pitchFamily="34" charset="0"/>
            </a:endParaRPr>
          </a:p>
        </p:txBody>
      </p:sp>
      <p:sp>
        <p:nvSpPr>
          <p:cNvPr id="31" name="textBoxChapter">
            <a:extLst>
              <a:ext uri="{FF2B5EF4-FFF2-40B4-BE49-F238E27FC236}">
                <a16:creationId xmlns:a16="http://schemas.microsoft.com/office/drawing/2014/main" id="{8BAC1D62-F43F-4B99-9901-5D80C3DEB122}"/>
              </a:ext>
            </a:extLst>
          </p:cNvPr>
          <p:cNvSpPr txBox="1"/>
          <p:nvPr/>
        </p:nvSpPr>
        <p:spPr>
          <a:xfrm>
            <a:off x="8566909" y="3079348"/>
            <a:ext cx="620199" cy="40299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de-DE" sz="2800" b="0" i="0" dirty="0">
                <a:solidFill>
                  <a:schemeClr val="accent2"/>
                </a:solidFill>
                <a:effectLst/>
                <a:latin typeface="Arial" panose="020B0604020202020204" pitchFamily="34" charset="0"/>
              </a:rPr>
              <a:t>➂</a:t>
            </a:r>
            <a:endParaRPr lang="en-US" sz="1400" dirty="0">
              <a:solidFill>
                <a:schemeClr val="accent2"/>
              </a:solidFill>
              <a:latin typeface="NewsGoth for Porsche Com" panose="020B0506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584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ocuhhelEKvHp4cNI02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heme/theme1.xml><?xml version="1.0" encoding="utf-8"?>
<a:theme xmlns:a="http://schemas.openxmlformats.org/drawingml/2006/main" name="Porsche 16zu9 Mastervorlage ohne Navigation 2013">
  <a:themeElements>
    <a:clrScheme name="Porsche CI 2017 Farbpalette">
      <a:dk1>
        <a:sysClr val="windowText" lastClr="000000"/>
      </a:dk1>
      <a:lt1>
        <a:sysClr val="window" lastClr="FFFFFF"/>
      </a:lt1>
      <a:dk2>
        <a:srgbClr val="403F45"/>
      </a:dk2>
      <a:lt2>
        <a:srgbClr val="DAD9DE"/>
      </a:lt2>
      <a:accent1>
        <a:srgbClr val="737278"/>
      </a:accent1>
      <a:accent2>
        <a:srgbClr val="D5001C"/>
      </a:accent2>
      <a:accent3>
        <a:srgbClr val="B5B4BA"/>
      </a:accent3>
      <a:accent4>
        <a:srgbClr val="DAD9DE"/>
      </a:accent4>
      <a:accent5>
        <a:srgbClr val="FFFFFF"/>
      </a:accent5>
      <a:accent6>
        <a:srgbClr val="336699"/>
      </a:accent6>
      <a:hlink>
        <a:srgbClr val="B5B4BA"/>
      </a:hlink>
      <a:folHlink>
        <a:srgbClr val="DAD9DE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317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Custom Color 1">
      <a:srgbClr val="2A4B6D"/>
    </a:custClr>
    <a:custClr name="Custom Color 2">
      <a:srgbClr val="3A6B9B"/>
    </a:custClr>
    <a:custClr name="Custom Color 3">
      <a:srgbClr val="5391C4"/>
    </a:custClr>
    <a:custClr name="Custom Color 4">
      <a:srgbClr val="76AFDC"/>
    </a:custClr>
    <a:custClr name="Custom Color 5">
      <a:srgbClr val="658E11"/>
    </a:custClr>
    <a:custClr name="Custom Color 6">
      <a:srgbClr val="8CB527"/>
    </a:custClr>
    <a:custClr name="Custom Color 7">
      <a:srgbClr val="D88711"/>
    </a:custClr>
    <a:custClr name="Custom Color 8">
      <a:srgbClr val="F2A100"/>
    </a:custClr>
    <a:custClr name="Custom Color 9">
      <a:srgbClr val="94001B"/>
    </a:custClr>
    <a:custClr name="Custom Color 10">
      <a:srgbClr val="C32718"/>
    </a:custClr>
  </a:custClrLst>
  <a:extLst>
    <a:ext uri="{05A4C25C-085E-4340-85A3-A5531E510DB2}">
      <thm15:themeFamily xmlns:thm15="http://schemas.microsoft.com/office/thememl/2012/main" name="Porsche Präsentations-Master-Vorlagen.pptx" id="{1F5CB06A-EF12-4B65-BFD5-537058F6CA9C}" vid="{3D9C66F8-33BE-4D66-A7AF-F8B76D9C5AED}"/>
    </a:ext>
  </a:extLst>
</a:theme>
</file>

<file path=ppt/theme/theme2.xml><?xml version="1.0" encoding="utf-8"?>
<a:theme xmlns:a="http://schemas.openxmlformats.org/drawingml/2006/main" name="Larissa">
  <a:themeElements>
    <a:clrScheme name="Porsche CI 2017 Farbpalette">
      <a:dk1>
        <a:sysClr val="windowText" lastClr="000000"/>
      </a:dk1>
      <a:lt1>
        <a:sysClr val="window" lastClr="FFFFFF"/>
      </a:lt1>
      <a:dk2>
        <a:srgbClr val="403F45"/>
      </a:dk2>
      <a:lt2>
        <a:srgbClr val="DAD9DE"/>
      </a:lt2>
      <a:accent1>
        <a:srgbClr val="737278"/>
      </a:accent1>
      <a:accent2>
        <a:srgbClr val="D5001C"/>
      </a:accent2>
      <a:accent3>
        <a:srgbClr val="B5B4BA"/>
      </a:accent3>
      <a:accent4>
        <a:srgbClr val="DAD9DE"/>
      </a:accent4>
      <a:accent5>
        <a:srgbClr val="FFFFFF"/>
      </a:accent5>
      <a:accent6>
        <a:srgbClr val="336699"/>
      </a:accent6>
      <a:hlink>
        <a:srgbClr val="B5B4BA"/>
      </a:hlink>
      <a:folHlink>
        <a:srgbClr val="DAD9DE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Porsche Mastervorlage 2013">
      <a:dk1>
        <a:sysClr val="windowText" lastClr="000000"/>
      </a:dk1>
      <a:lt1>
        <a:sysClr val="window" lastClr="FFFFFF"/>
      </a:lt1>
      <a:dk2>
        <a:srgbClr val="5F5F5F"/>
      </a:dk2>
      <a:lt2>
        <a:srgbClr val="777777"/>
      </a:lt2>
      <a:accent1>
        <a:srgbClr val="A7A7A7"/>
      </a:accent1>
      <a:accent2>
        <a:srgbClr val="D60027"/>
      </a:accent2>
      <a:accent3>
        <a:srgbClr val="C0C0C0"/>
      </a:accent3>
      <a:accent4>
        <a:srgbClr val="E1E1E1"/>
      </a:accent4>
      <a:accent5>
        <a:srgbClr val="FFFFFF"/>
      </a:accent5>
      <a:accent6>
        <a:srgbClr val="336699"/>
      </a:accent6>
      <a:hlink>
        <a:srgbClr val="C0C0C0"/>
      </a:hlink>
      <a:folHlink>
        <a:srgbClr val="E1E1E1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rsche Präsentations-Master-Vorlagen</Template>
  <TotalTime>0</TotalTime>
  <Words>24</Words>
  <Application>Microsoft Office PowerPoint</Application>
  <PresentationFormat>Custom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NewsGoth for Porsche Com</vt:lpstr>
      <vt:lpstr>Porsche News Gothic</vt:lpstr>
      <vt:lpstr>Porsche Next TT</vt:lpstr>
      <vt:lpstr>Roboto</vt:lpstr>
      <vt:lpstr>Symbol</vt:lpstr>
      <vt:lpstr>Wingdings</vt:lpstr>
      <vt:lpstr>Porsche 16zu9 Mastervorlage ohne Navigation 2013</vt:lpstr>
      <vt:lpstr>think-cell Folie</vt:lpstr>
      <vt:lpstr>PowerPoint Presentation</vt:lpstr>
    </vt:vector>
  </TitlesOfParts>
  <Manager>Christina Weinmann / VM2 / CI</Manager>
  <Company>Porsch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Neue Präsentation in PowerPoint2010</dc:subject>
  <dc:creator>Rabus, Maximilian (EKS4)</dc:creator>
  <cp:keywords>Arbeitsgruppenvorlage-Vorlage</cp:keywords>
  <dc:description>17.08.2017 FII4_DL, B.Müller / VMK
- Neue CI-Schrift Porsche Next TT
- Anpassungen gem. neuem CI-Guide
- Anpassungen Folienmaster, Handzettelmaster, Notizenmaster
- Schriftzug 50mm Breite
- Wappenlogo 80mm Breite
- Format 16:9
--------------------------------------------
2011 / Office2010-Projekt
- erstellt a.B. der PowerPoint2010-Neue Präsentation
- Neue CI-Schriften im OpenType-Format (VM2)
Jan.-Juli 2013 / ex.DL Thomas Breuer / VM2,GG,GOI
- Layoutänderung nach PDF-Vorgabe von KMS-TEAM
  und Präzisierungsvorschlägen von Hrn.Breuer
- Anpassung PorscheToolsPP an geändertes Layout
26.08.2013 / ex.DL Thomas Breuer / GOI, F.Jahke
- Layoutänderung auf 16:9
- keine Anpassung PorscheToolsPP an 16:9-Layout!!
11.03.2015 / FAS3, R.Maurer / VM2, F.Weinmann
- Autor leer (wg. Kennwortmeldung "ist belegt von")
- Porsche Schriftzuglänge 8cm (S1) und 5 cm (ab S2)
- Mastername:
Porsche 16zu9 Mastervorlage ohne Navigation 2013
- Master beibehalten: Ja</dc:description>
  <cp:lastModifiedBy>Karim Belaid</cp:lastModifiedBy>
  <cp:revision>610</cp:revision>
  <dcterms:created xsi:type="dcterms:W3CDTF">2018-10-12T08:44:04Z</dcterms:created>
  <dcterms:modified xsi:type="dcterms:W3CDTF">2022-05-28T08:56:02Z</dcterms:modified>
  <cp:category>Formulare</cp:category>
</cp:coreProperties>
</file>